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9.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2.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2.xml" ContentType="application/vnd.openxmlformats-officedocument.drawingml.chartshape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25"/>
    <p:sldMasterId id="2147483661" r:id="rId26"/>
    <p:sldMasterId id="2147483753" r:id="rId27"/>
    <p:sldMasterId id="2147483737" r:id="rId28"/>
    <p:sldMasterId id="2147483673" r:id="rId29"/>
    <p:sldMasterId id="2147483679" r:id="rId30"/>
    <p:sldMasterId id="2147483685" r:id="rId31"/>
    <p:sldMasterId id="2147483691" r:id="rId32"/>
    <p:sldMasterId id="2147483697" r:id="rId33"/>
    <p:sldMasterId id="2147483703" r:id="rId34"/>
    <p:sldMasterId id="2147483709" r:id="rId35"/>
    <p:sldMasterId id="2147483715" r:id="rId36"/>
    <p:sldMasterId id="2147483721" r:id="rId37"/>
  </p:sldMasterIdLst>
  <p:notesMasterIdLst>
    <p:notesMasterId r:id="rId51"/>
  </p:notesMasterIdLst>
  <p:sldIdLst>
    <p:sldId id="256" r:id="rId38"/>
    <p:sldId id="306" r:id="rId39"/>
    <p:sldId id="264" r:id="rId40"/>
    <p:sldId id="697" r:id="rId41"/>
    <p:sldId id="833" r:id="rId42"/>
    <p:sldId id="824" r:id="rId43"/>
    <p:sldId id="834" r:id="rId44"/>
    <p:sldId id="835" r:id="rId45"/>
    <p:sldId id="836" r:id="rId46"/>
    <p:sldId id="259" r:id="rId47"/>
    <p:sldId id="837" r:id="rId48"/>
    <p:sldId id="825" r:id="rId49"/>
    <p:sldId id="838" r:id="rId50"/>
  </p:sldIdLst>
  <p:sldSz cx="12192000" cy="6858000"/>
  <p:notesSz cx="6858000" cy="9144000"/>
  <p:embeddedFontLst>
    <p:embeddedFont>
      <p:font typeface="Franklin Gothic Book" panose="020B0503020102020204" pitchFamily="34" charset="0"/>
      <p:regular r:id="rId52"/>
      <p:italic r:id="rId53"/>
    </p:embeddedFont>
    <p:embeddedFont>
      <p:font typeface="Haffer" panose="020B0604020202020204" charset="0"/>
      <p:regular r:id="rId54"/>
      <p:bold r:id="rId55"/>
    </p:embeddedFont>
    <p:embeddedFont>
      <p:font typeface="Haffer Light" panose="020B0604020202020204" charset="0"/>
      <p:regular r:id="rId56"/>
    </p:embeddedFont>
    <p:embeddedFont>
      <p:font typeface="Segoe UI" panose="020B0502040204020203" pitchFamily="34" charset="0"/>
      <p:regular r:id="rId57"/>
      <p:bold r:id="rId58"/>
      <p:italic r:id="rId59"/>
      <p:boldItalic r:id="rId60"/>
    </p:embeddedFont>
    <p:embeddedFont>
      <p:font typeface="Segoe UI Emoji" panose="020B0502040204020203" pitchFamily="34" charset="0"/>
      <p:regular r:id="rId61"/>
    </p:embeddedFont>
    <p:embeddedFont>
      <p:font typeface="Segoe UI Symbol" panose="020B0502040204020203" pitchFamily="34" charset="0"/>
      <p:regular r:id="rId62"/>
    </p:embeddedFont>
  </p:embeddedFont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10582EA0-B377-4F93-B0D4-6FD6E1AAA890}">
          <p14:sldIdLst>
            <p14:sldId id="256"/>
          </p14:sldIdLst>
        </p14:section>
        <p14:section name="Historische Entwicklung" id="{F7C357A8-9448-4342-97C5-29C50D454F6D}">
          <p14:sldIdLst>
            <p14:sldId id="306"/>
            <p14:sldId id="264"/>
            <p14:sldId id="697"/>
            <p14:sldId id="833"/>
            <p14:sldId id="824"/>
            <p14:sldId id="834"/>
            <p14:sldId id="835"/>
          </p14:sldIdLst>
        </p14:section>
        <p14:section name="Flexibilitäten" id="{0422B601-A251-41B6-BE92-1AE62AAD9827}">
          <p14:sldIdLst>
            <p14:sldId id="836"/>
            <p14:sldId id="259"/>
            <p14:sldId id="837"/>
            <p14:sldId id="825"/>
            <p14:sldId id="8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EC8D8"/>
    <a:srgbClr val="08B9CD"/>
    <a:srgbClr val="F2F1F9"/>
    <a:srgbClr val="C7F4ED"/>
    <a:srgbClr val="022E33"/>
    <a:srgbClr val="C0B5F9"/>
    <a:srgbClr val="E5E3F1"/>
    <a:srgbClr val="DAD8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96197E-9BAB-74A0-6FC3-D2F405609283}" v="14" dt="2025-02-09T13:53:32.677"/>
    <p1510:client id="{ACC94C73-762C-8FD9-CF0C-A1F6DB5F4ED9}" v="3" dt="2025-02-09T13:57:59.91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690" autoAdjust="0"/>
  </p:normalViewPr>
  <p:slideViewPr>
    <p:cSldViewPr snapToGrid="0">
      <p:cViewPr varScale="1">
        <p:scale>
          <a:sx n="61" d="100"/>
          <a:sy n="61" d="100"/>
        </p:scale>
        <p:origin x="884" y="60"/>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xml"/><Relationship Id="rId21" Type="http://schemas.openxmlformats.org/officeDocument/2006/relationships/customXml" Target="../customXml/item21.xml"/><Relationship Id="rId34" Type="http://schemas.openxmlformats.org/officeDocument/2006/relationships/slideMaster" Target="slideMasters/slideMaster10.xml"/><Relationship Id="rId42" Type="http://schemas.openxmlformats.org/officeDocument/2006/relationships/slide" Target="slides/slide5.xml"/><Relationship Id="rId47" Type="http://schemas.openxmlformats.org/officeDocument/2006/relationships/slide" Target="slides/slide10.xml"/><Relationship Id="rId50" Type="http://schemas.openxmlformats.org/officeDocument/2006/relationships/slide" Target="slides/slide13.xml"/><Relationship Id="rId55" Type="http://schemas.openxmlformats.org/officeDocument/2006/relationships/font" Target="fonts/font4.fntdata"/><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Master" Target="slideMasters/slideMaster5.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8.xml"/><Relationship Id="rId37" Type="http://schemas.openxmlformats.org/officeDocument/2006/relationships/slideMaster" Target="slideMasters/slideMaster13.xml"/><Relationship Id="rId40" Type="http://schemas.openxmlformats.org/officeDocument/2006/relationships/slide" Target="slides/slide3.xml"/><Relationship Id="rId45" Type="http://schemas.openxmlformats.org/officeDocument/2006/relationships/slide" Target="slides/slide8.xml"/><Relationship Id="rId53" Type="http://schemas.openxmlformats.org/officeDocument/2006/relationships/font" Target="fonts/font2.fntdata"/><Relationship Id="rId58" Type="http://schemas.openxmlformats.org/officeDocument/2006/relationships/font" Target="fonts/font7.fntdata"/><Relationship Id="rId66"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font" Target="fonts/font10.fntdata"/><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3.xml"/><Relationship Id="rId30" Type="http://schemas.openxmlformats.org/officeDocument/2006/relationships/slideMaster" Target="slideMasters/slideMaster6.xml"/><Relationship Id="rId35" Type="http://schemas.openxmlformats.org/officeDocument/2006/relationships/slideMaster" Target="slideMasters/slideMaster11.xml"/><Relationship Id="rId43" Type="http://schemas.openxmlformats.org/officeDocument/2006/relationships/slide" Target="slides/slide6.xml"/><Relationship Id="rId48" Type="http://schemas.openxmlformats.org/officeDocument/2006/relationships/slide" Target="slides/slide11.xml"/><Relationship Id="rId56" Type="http://schemas.openxmlformats.org/officeDocument/2006/relationships/font" Target="fonts/font5.fntdata"/><Relationship Id="rId64" Type="http://schemas.openxmlformats.org/officeDocument/2006/relationships/viewProps" Target="viewProps.xml"/><Relationship Id="rId8" Type="http://schemas.openxmlformats.org/officeDocument/2006/relationships/customXml" Target="../customXml/item8.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1.xml"/><Relationship Id="rId33" Type="http://schemas.openxmlformats.org/officeDocument/2006/relationships/slideMaster" Target="slideMasters/slideMaster9.xml"/><Relationship Id="rId38" Type="http://schemas.openxmlformats.org/officeDocument/2006/relationships/slide" Target="slides/slide1.xml"/><Relationship Id="rId46" Type="http://schemas.openxmlformats.org/officeDocument/2006/relationships/slide" Target="slides/slide9.xml"/><Relationship Id="rId59" Type="http://schemas.openxmlformats.org/officeDocument/2006/relationships/font" Target="fonts/font8.fntdata"/><Relationship Id="rId67" Type="http://schemas.microsoft.com/office/2016/11/relationships/changesInfo" Target="changesInfos/changesInfo1.xml"/><Relationship Id="rId20" Type="http://schemas.openxmlformats.org/officeDocument/2006/relationships/customXml" Target="../customXml/item20.xml"/><Relationship Id="rId41" Type="http://schemas.openxmlformats.org/officeDocument/2006/relationships/slide" Target="slides/slide4.xml"/><Relationship Id="rId54" Type="http://schemas.openxmlformats.org/officeDocument/2006/relationships/font" Target="fonts/font3.fntdata"/><Relationship Id="rId62" Type="http://schemas.openxmlformats.org/officeDocument/2006/relationships/font" Target="fonts/font11.fntdata"/><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4.xml"/><Relationship Id="rId36" Type="http://schemas.openxmlformats.org/officeDocument/2006/relationships/slideMaster" Target="slideMasters/slideMaster12.xml"/><Relationship Id="rId49" Type="http://schemas.openxmlformats.org/officeDocument/2006/relationships/slide" Target="slides/slide12.xml"/><Relationship Id="rId57" Type="http://schemas.openxmlformats.org/officeDocument/2006/relationships/font" Target="fonts/font6.fntdata"/><Relationship Id="rId10" Type="http://schemas.openxmlformats.org/officeDocument/2006/relationships/customXml" Target="../customXml/item10.xml"/><Relationship Id="rId31" Type="http://schemas.openxmlformats.org/officeDocument/2006/relationships/slideMaster" Target="slideMasters/slideMaster7.xml"/><Relationship Id="rId44" Type="http://schemas.openxmlformats.org/officeDocument/2006/relationships/slide" Target="slides/slide7.xml"/><Relationship Id="rId52" Type="http://schemas.openxmlformats.org/officeDocument/2006/relationships/font" Target="fonts/font1.fntdata"/><Relationship Id="rId60" Type="http://schemas.openxmlformats.org/officeDocument/2006/relationships/font" Target="fonts/font9.fntdata"/><Relationship Id="rId65"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sephine Steppat" userId="ad9ceb25-8da7-411f-bf87-5981331f6d79" providerId="ADAL" clId="{B10A3F92-5040-4D0F-B017-A6F004101CDA}"/>
    <pc:docChg chg="undo custSel addSld delSld modSld sldOrd modMainMaster modSection">
      <pc:chgData name="Josephine Steppat" userId="ad9ceb25-8da7-411f-bf87-5981331f6d79" providerId="ADAL" clId="{B10A3F92-5040-4D0F-B017-A6F004101CDA}" dt="2024-11-22T13:17:38.623" v="392" actId="20577"/>
      <pc:docMkLst>
        <pc:docMk/>
      </pc:docMkLst>
      <pc:sldChg chg="addSp modSp mod modNotesTx">
        <pc:chgData name="Josephine Steppat" userId="ad9ceb25-8da7-411f-bf87-5981331f6d79" providerId="ADAL" clId="{B10A3F92-5040-4D0F-B017-A6F004101CDA}" dt="2024-11-14T15:36:56.794" v="379" actId="20577"/>
        <pc:sldMkLst>
          <pc:docMk/>
          <pc:sldMk cId="2604930823" sldId="256"/>
        </pc:sldMkLst>
        <pc:spChg chg="add mod">
          <ac:chgData name="Josephine Steppat" userId="ad9ceb25-8da7-411f-bf87-5981331f6d79" providerId="ADAL" clId="{B10A3F92-5040-4D0F-B017-A6F004101CDA}" dt="2024-11-14T15:36:56.794" v="379" actId="20577"/>
          <ac:spMkLst>
            <pc:docMk/>
            <pc:sldMk cId="2604930823" sldId="256"/>
            <ac:spMk id="2" creationId="{4A0FF72D-4CB4-6FB6-7B89-DDBA411A5A49}"/>
          </ac:spMkLst>
        </pc:spChg>
        <pc:spChg chg="mod">
          <ac:chgData name="Josephine Steppat" userId="ad9ceb25-8da7-411f-bf87-5981331f6d79" providerId="ADAL" clId="{B10A3F92-5040-4D0F-B017-A6F004101CDA}" dt="2024-11-13T12:25:01.851" v="5"/>
          <ac:spMkLst>
            <pc:docMk/>
            <pc:sldMk cId="2604930823" sldId="256"/>
            <ac:spMk id="3" creationId="{BD7738DD-2B1E-238B-8EF1-7B5515B199B7}"/>
          </ac:spMkLst>
        </pc:spChg>
      </pc:sldChg>
      <pc:sldChg chg="del">
        <pc:chgData name="Josephine Steppat" userId="ad9ceb25-8da7-411f-bf87-5981331f6d79" providerId="ADAL" clId="{B10A3F92-5040-4D0F-B017-A6F004101CDA}" dt="2024-11-13T12:33:21.135" v="162" actId="47"/>
        <pc:sldMkLst>
          <pc:docMk/>
          <pc:sldMk cId="2636265397" sldId="258"/>
        </pc:sldMkLst>
      </pc:sldChg>
      <pc:sldChg chg="addSp delSp modSp mod ord chgLayout">
        <pc:chgData name="Josephine Steppat" userId="ad9ceb25-8da7-411f-bf87-5981331f6d79" providerId="ADAL" clId="{B10A3F92-5040-4D0F-B017-A6F004101CDA}" dt="2024-11-14T15:37:56.676" v="385" actId="1076"/>
        <pc:sldMkLst>
          <pc:docMk/>
          <pc:sldMk cId="3480348253" sldId="259"/>
        </pc:sldMkLst>
        <pc:spChg chg="mod ord">
          <ac:chgData name="Josephine Steppat" userId="ad9ceb25-8da7-411f-bf87-5981331f6d79" providerId="ADAL" clId="{B10A3F92-5040-4D0F-B017-A6F004101CDA}" dt="2024-11-14T15:11:18.727" v="359" actId="20577"/>
          <ac:spMkLst>
            <pc:docMk/>
            <pc:sldMk cId="3480348253" sldId="259"/>
            <ac:spMk id="2" creationId="{B8E63508-1037-9C55-8F7B-2AA4DB641549}"/>
          </ac:spMkLst>
        </pc:spChg>
        <pc:spChg chg="add mod">
          <ac:chgData name="Josephine Steppat" userId="ad9ceb25-8da7-411f-bf87-5981331f6d79" providerId="ADAL" clId="{B10A3F92-5040-4D0F-B017-A6F004101CDA}" dt="2024-11-14T15:36:36.632" v="375" actId="478"/>
          <ac:spMkLst>
            <pc:docMk/>
            <pc:sldMk cId="3480348253" sldId="259"/>
            <ac:spMk id="3" creationId="{E9072FB9-7282-00C6-A40F-3C69DB2DFD40}"/>
          </ac:spMkLst>
        </pc:spChg>
        <pc:spChg chg="del mod">
          <ac:chgData name="Josephine Steppat" userId="ad9ceb25-8da7-411f-bf87-5981331f6d79" providerId="ADAL" clId="{B10A3F92-5040-4D0F-B017-A6F004101CDA}" dt="2024-11-13T13:54:02.112" v="197" actId="478"/>
          <ac:spMkLst>
            <pc:docMk/>
            <pc:sldMk cId="3480348253" sldId="259"/>
            <ac:spMk id="4" creationId="{B8D982C8-0D80-F1FB-0789-56A529B0981A}"/>
          </ac:spMkLst>
        </pc:spChg>
        <pc:spChg chg="add del mod">
          <ac:chgData name="Josephine Steppat" userId="ad9ceb25-8da7-411f-bf87-5981331f6d79" providerId="ADAL" clId="{B10A3F92-5040-4D0F-B017-A6F004101CDA}" dt="2024-11-14T15:37:34.202" v="383" actId="478"/>
          <ac:spMkLst>
            <pc:docMk/>
            <pc:sldMk cId="3480348253" sldId="259"/>
            <ac:spMk id="4" creationId="{E8424DF3-FAB0-94E1-E387-CFCA3FBBACFF}"/>
          </ac:spMkLst>
        </pc:spChg>
        <pc:spChg chg="del mod ord">
          <ac:chgData name="Josephine Steppat" userId="ad9ceb25-8da7-411f-bf87-5981331f6d79" providerId="ADAL" clId="{B10A3F92-5040-4D0F-B017-A6F004101CDA}" dt="2024-11-14T15:36:36.632" v="375" actId="478"/>
          <ac:spMkLst>
            <pc:docMk/>
            <pc:sldMk cId="3480348253" sldId="259"/>
            <ac:spMk id="5" creationId="{E837BDA8-984E-1DD3-53D2-A5481D19CA6F}"/>
          </ac:spMkLst>
        </pc:spChg>
        <pc:spChg chg="add del mod ord">
          <ac:chgData name="Josephine Steppat" userId="ad9ceb25-8da7-411f-bf87-5981331f6d79" providerId="ADAL" clId="{B10A3F92-5040-4D0F-B017-A6F004101CDA}" dt="2024-11-13T14:18:35.476" v="222" actId="478"/>
          <ac:spMkLst>
            <pc:docMk/>
            <pc:sldMk cId="3480348253" sldId="259"/>
            <ac:spMk id="7" creationId="{4C0F40E8-0E9E-6B86-F9E8-B70AA27B8D1B}"/>
          </ac:spMkLst>
        </pc:spChg>
        <pc:spChg chg="add mod">
          <ac:chgData name="Josephine Steppat" userId="ad9ceb25-8da7-411f-bf87-5981331f6d79" providerId="ADAL" clId="{B10A3F92-5040-4D0F-B017-A6F004101CDA}" dt="2024-11-14T15:37:56.676" v="385" actId="1076"/>
          <ac:spMkLst>
            <pc:docMk/>
            <pc:sldMk cId="3480348253" sldId="259"/>
            <ac:spMk id="10" creationId="{31FC11CB-C468-04EE-400F-BDC2C700C101}"/>
          </ac:spMkLst>
        </pc:spChg>
        <pc:graphicFrameChg chg="add mod">
          <ac:chgData name="Josephine Steppat" userId="ad9ceb25-8da7-411f-bf87-5981331f6d79" providerId="ADAL" clId="{B10A3F92-5040-4D0F-B017-A6F004101CDA}" dt="2024-11-13T14:18:13" v="215"/>
          <ac:graphicFrameMkLst>
            <pc:docMk/>
            <pc:sldMk cId="3480348253" sldId="259"/>
            <ac:graphicFrameMk id="3" creationId="{FDBC6BF9-88DB-4331-B4A5-CDB974C62562}"/>
          </ac:graphicFrameMkLst>
        </pc:graphicFrameChg>
        <pc:graphicFrameChg chg="del mod">
          <ac:chgData name="Josephine Steppat" userId="ad9ceb25-8da7-411f-bf87-5981331f6d79" providerId="ADAL" clId="{B10A3F92-5040-4D0F-B017-A6F004101CDA}" dt="2024-11-13T13:58:18.150" v="204" actId="478"/>
          <ac:graphicFrameMkLst>
            <pc:docMk/>
            <pc:sldMk cId="3480348253" sldId="259"/>
            <ac:graphicFrameMk id="6" creationId="{31103955-0FD4-4F2A-8982-2EB706FEB9DC}"/>
          </ac:graphicFrameMkLst>
        </pc:graphicFrameChg>
        <pc:graphicFrameChg chg="add mod">
          <ac:chgData name="Josephine Steppat" userId="ad9ceb25-8da7-411f-bf87-5981331f6d79" providerId="ADAL" clId="{B10A3F92-5040-4D0F-B017-A6F004101CDA}" dt="2024-11-13T14:18:30.062" v="219"/>
          <ac:graphicFrameMkLst>
            <pc:docMk/>
            <pc:sldMk cId="3480348253" sldId="259"/>
            <ac:graphicFrameMk id="8" creationId="{FDBC6BF9-88DB-4331-B4A5-CDB974C62562}"/>
          </ac:graphicFrameMkLst>
        </pc:graphicFrameChg>
        <pc:graphicFrameChg chg="add mod">
          <ac:chgData name="Josephine Steppat" userId="ad9ceb25-8da7-411f-bf87-5981331f6d79" providerId="ADAL" clId="{B10A3F92-5040-4D0F-B017-A6F004101CDA}" dt="2024-11-13T14:22:05.039" v="241" actId="20577"/>
          <ac:graphicFrameMkLst>
            <pc:docMk/>
            <pc:sldMk cId="3480348253" sldId="259"/>
            <ac:graphicFrameMk id="9" creationId="{FDBC6BF9-88DB-4331-B4A5-CDB974C62562}"/>
          </ac:graphicFrameMkLst>
        </pc:graphicFrameChg>
      </pc:sldChg>
      <pc:sldChg chg="del">
        <pc:chgData name="Josephine Steppat" userId="ad9ceb25-8da7-411f-bf87-5981331f6d79" providerId="ADAL" clId="{B10A3F92-5040-4D0F-B017-A6F004101CDA}" dt="2024-11-13T12:33:19.829" v="161" actId="47"/>
        <pc:sldMkLst>
          <pc:docMk/>
          <pc:sldMk cId="3379076849" sldId="261"/>
        </pc:sldMkLst>
      </pc:sldChg>
      <pc:sldChg chg="delSp del mod">
        <pc:chgData name="Josephine Steppat" userId="ad9ceb25-8da7-411f-bf87-5981331f6d79" providerId="ADAL" clId="{B10A3F92-5040-4D0F-B017-A6F004101CDA}" dt="2024-11-13T12:31:52.141" v="156" actId="47"/>
        <pc:sldMkLst>
          <pc:docMk/>
          <pc:sldMk cId="3553969938" sldId="262"/>
        </pc:sldMkLst>
        <pc:spChg chg="del">
          <ac:chgData name="Josephine Steppat" userId="ad9ceb25-8da7-411f-bf87-5981331f6d79" providerId="ADAL" clId="{B10A3F92-5040-4D0F-B017-A6F004101CDA}" dt="2024-11-13T12:31:37.747" v="155" actId="478"/>
          <ac:spMkLst>
            <pc:docMk/>
            <pc:sldMk cId="3553969938" sldId="262"/>
            <ac:spMk id="2" creationId="{0C65CCA5-12EF-470A-F08E-E22F98BA2E97}"/>
          </ac:spMkLst>
        </pc:spChg>
      </pc:sldChg>
      <pc:sldChg chg="addSp delSp modSp mod ord delAnim modAnim modShow">
        <pc:chgData name="Josephine Steppat" userId="ad9ceb25-8da7-411f-bf87-5981331f6d79" providerId="ADAL" clId="{B10A3F92-5040-4D0F-B017-A6F004101CDA}" dt="2024-11-14T15:36:27.079" v="374" actId="478"/>
        <pc:sldMkLst>
          <pc:docMk/>
          <pc:sldMk cId="920877821" sldId="264"/>
        </pc:sldMkLst>
        <pc:spChg chg="mod">
          <ac:chgData name="Josephine Steppat" userId="ad9ceb25-8da7-411f-bf87-5981331f6d79" providerId="ADAL" clId="{B10A3F92-5040-4D0F-B017-A6F004101CDA}" dt="2024-11-13T12:39:34.155" v="182"/>
          <ac:spMkLst>
            <pc:docMk/>
            <pc:sldMk cId="920877821" sldId="264"/>
            <ac:spMk id="2" creationId="{187CAD8B-0A65-1D0B-3094-3F7666F18C6A}"/>
          </ac:spMkLst>
        </pc:spChg>
        <pc:spChg chg="del">
          <ac:chgData name="Josephine Steppat" userId="ad9ceb25-8da7-411f-bf87-5981331f6d79" providerId="ADAL" clId="{B10A3F92-5040-4D0F-B017-A6F004101CDA}" dt="2024-11-14T15:36:27.079" v="374" actId="478"/>
          <ac:spMkLst>
            <pc:docMk/>
            <pc:sldMk cId="920877821" sldId="264"/>
            <ac:spMk id="3" creationId="{DD57618A-9858-5187-4FF6-2B92E6F33467}"/>
          </ac:spMkLst>
        </pc:spChg>
        <pc:spChg chg="mod">
          <ac:chgData name="Josephine Steppat" userId="ad9ceb25-8da7-411f-bf87-5981331f6d79" providerId="ADAL" clId="{B10A3F92-5040-4D0F-B017-A6F004101CDA}" dt="2024-11-13T12:40:16.015" v="192" actId="20577"/>
          <ac:spMkLst>
            <pc:docMk/>
            <pc:sldMk cId="920877821" sldId="264"/>
            <ac:spMk id="4" creationId="{90DA8C0A-3DF5-B29C-2D1C-E4B77AB65F89}"/>
          </ac:spMkLst>
        </pc:spChg>
        <pc:spChg chg="add mod">
          <ac:chgData name="Josephine Steppat" userId="ad9ceb25-8da7-411f-bf87-5981331f6d79" providerId="ADAL" clId="{B10A3F92-5040-4D0F-B017-A6F004101CDA}" dt="2024-11-14T15:36:27.079" v="374" actId="478"/>
          <ac:spMkLst>
            <pc:docMk/>
            <pc:sldMk cId="920877821" sldId="264"/>
            <ac:spMk id="6" creationId="{37674F3C-D14D-70CC-67CF-92542A26EABC}"/>
          </ac:spMkLst>
        </pc:spChg>
        <pc:spChg chg="del">
          <ac:chgData name="Josephine Steppat" userId="ad9ceb25-8da7-411f-bf87-5981331f6d79" providerId="ADAL" clId="{B10A3F92-5040-4D0F-B017-A6F004101CDA}" dt="2024-11-13T14:30:45.106" v="338" actId="478"/>
          <ac:spMkLst>
            <pc:docMk/>
            <pc:sldMk cId="920877821" sldId="264"/>
            <ac:spMk id="8" creationId="{EBEB0F2A-0B78-77E8-D6DA-2DC112DF9F1C}"/>
          </ac:spMkLst>
        </pc:spChg>
      </pc:sldChg>
      <pc:sldChg chg="del">
        <pc:chgData name="Josephine Steppat" userId="ad9ceb25-8da7-411f-bf87-5981331f6d79" providerId="ADAL" clId="{B10A3F92-5040-4D0F-B017-A6F004101CDA}" dt="2024-11-13T12:31:55.125" v="157" actId="47"/>
        <pc:sldMkLst>
          <pc:docMk/>
          <pc:sldMk cId="3334318847" sldId="271"/>
        </pc:sldMkLst>
      </pc:sldChg>
      <pc:sldChg chg="add del">
        <pc:chgData name="Josephine Steppat" userId="ad9ceb25-8da7-411f-bf87-5981331f6d79" providerId="ADAL" clId="{B10A3F92-5040-4D0F-B017-A6F004101CDA}" dt="2024-11-13T12:35:18.468" v="166"/>
        <pc:sldMkLst>
          <pc:docMk/>
          <pc:sldMk cId="3074330525" sldId="363"/>
        </pc:sldMkLst>
      </pc:sldChg>
      <pc:sldChg chg="del mod modShow">
        <pc:chgData name="Josephine Steppat" userId="ad9ceb25-8da7-411f-bf87-5981331f6d79" providerId="ADAL" clId="{B10A3F92-5040-4D0F-B017-A6F004101CDA}" dt="2024-11-13T12:37:48.125" v="178" actId="47"/>
        <pc:sldMkLst>
          <pc:docMk/>
          <pc:sldMk cId="988649156" sldId="398"/>
        </pc:sldMkLst>
      </pc:sldChg>
      <pc:sldChg chg="del mod ord modShow">
        <pc:chgData name="Josephine Steppat" userId="ad9ceb25-8da7-411f-bf87-5981331f6d79" providerId="ADAL" clId="{B10A3F92-5040-4D0F-B017-A6F004101CDA}" dt="2024-11-13T12:37:53.984" v="179" actId="47"/>
        <pc:sldMkLst>
          <pc:docMk/>
          <pc:sldMk cId="2015555903" sldId="399"/>
        </pc:sldMkLst>
      </pc:sldChg>
      <pc:sldChg chg="del mod modShow">
        <pc:chgData name="Josephine Steppat" userId="ad9ceb25-8da7-411f-bf87-5981331f6d79" providerId="ADAL" clId="{B10A3F92-5040-4D0F-B017-A6F004101CDA}" dt="2024-11-13T12:37:45.525" v="177" actId="47"/>
        <pc:sldMkLst>
          <pc:docMk/>
          <pc:sldMk cId="3282109485" sldId="606"/>
        </pc:sldMkLst>
      </pc:sldChg>
      <pc:sldChg chg="del">
        <pc:chgData name="Josephine Steppat" userId="ad9ceb25-8da7-411f-bf87-5981331f6d79" providerId="ADAL" clId="{B10A3F92-5040-4D0F-B017-A6F004101CDA}" dt="2024-11-13T12:31:58.735" v="158" actId="47"/>
        <pc:sldMkLst>
          <pc:docMk/>
          <pc:sldMk cId="4102898096" sldId="607"/>
        </pc:sldMkLst>
      </pc:sldChg>
      <pc:sldChg chg="del">
        <pc:chgData name="Josephine Steppat" userId="ad9ceb25-8da7-411f-bf87-5981331f6d79" providerId="ADAL" clId="{B10A3F92-5040-4D0F-B017-A6F004101CDA}" dt="2024-11-13T12:28:31.763" v="140" actId="47"/>
        <pc:sldMkLst>
          <pc:docMk/>
          <pc:sldMk cId="1427027924" sldId="824"/>
        </pc:sldMkLst>
      </pc:sldChg>
      <pc:sldChg chg="modSp add del mod ord">
        <pc:chgData name="Josephine Steppat" userId="ad9ceb25-8da7-411f-bf87-5981331f6d79" providerId="ADAL" clId="{B10A3F92-5040-4D0F-B017-A6F004101CDA}" dt="2024-11-22T10:55:49.436" v="390" actId="1076"/>
        <pc:sldMkLst>
          <pc:docMk/>
          <pc:sldMk cId="72255503" sldId="825"/>
        </pc:sldMkLst>
        <pc:spChg chg="mod">
          <ac:chgData name="Josephine Steppat" userId="ad9ceb25-8da7-411f-bf87-5981331f6d79" providerId="ADAL" clId="{B10A3F92-5040-4D0F-B017-A6F004101CDA}" dt="2024-11-22T10:55:49.436" v="390" actId="1076"/>
          <ac:spMkLst>
            <pc:docMk/>
            <pc:sldMk cId="72255503" sldId="825"/>
            <ac:spMk id="9" creationId="{8035FCCC-CFE3-C514-2ABE-44CD05662054}"/>
          </ac:spMkLst>
        </pc:spChg>
        <pc:spChg chg="mod">
          <ac:chgData name="Josephine Steppat" userId="ad9ceb25-8da7-411f-bf87-5981331f6d79" providerId="ADAL" clId="{B10A3F92-5040-4D0F-B017-A6F004101CDA}" dt="2024-11-22T10:55:29.443" v="387" actId="1076"/>
          <ac:spMkLst>
            <pc:docMk/>
            <pc:sldMk cId="72255503" sldId="825"/>
            <ac:spMk id="16" creationId="{13F31D32-32D5-7214-A266-4674E543A5E6}"/>
          </ac:spMkLst>
        </pc:spChg>
        <pc:spChg chg="mod">
          <ac:chgData name="Josephine Steppat" userId="ad9ceb25-8da7-411f-bf87-5981331f6d79" providerId="ADAL" clId="{B10A3F92-5040-4D0F-B017-A6F004101CDA}" dt="2024-11-22T10:55:38.812" v="388" actId="1076"/>
          <ac:spMkLst>
            <pc:docMk/>
            <pc:sldMk cId="72255503" sldId="825"/>
            <ac:spMk id="19" creationId="{C9CE8EBC-EEB4-1C7D-D129-45C041B1A6EC}"/>
          </ac:spMkLst>
        </pc:spChg>
      </pc:sldChg>
      <pc:sldChg chg="add del mod ord modShow">
        <pc:chgData name="Josephine Steppat" userId="ad9ceb25-8da7-411f-bf87-5981331f6d79" providerId="ADAL" clId="{B10A3F92-5040-4D0F-B017-A6F004101CDA}" dt="2024-11-14T15:10:50.115" v="339" actId="47"/>
        <pc:sldMkLst>
          <pc:docMk/>
          <pc:sldMk cId="1685690064" sldId="826"/>
        </pc:sldMkLst>
      </pc:sldChg>
      <pc:sldChg chg="modSp new del mod">
        <pc:chgData name="Josephine Steppat" userId="ad9ceb25-8da7-411f-bf87-5981331f6d79" providerId="ADAL" clId="{B10A3F92-5040-4D0F-B017-A6F004101CDA}" dt="2024-11-13T12:38:22.816" v="181" actId="47"/>
        <pc:sldMkLst>
          <pc:docMk/>
          <pc:sldMk cId="2037264480" sldId="827"/>
        </pc:sldMkLst>
        <pc:spChg chg="mod">
          <ac:chgData name="Josephine Steppat" userId="ad9ceb25-8da7-411f-bf87-5981331f6d79" providerId="ADAL" clId="{B10A3F92-5040-4D0F-B017-A6F004101CDA}" dt="2024-11-13T12:26:21.136" v="82" actId="20577"/>
          <ac:spMkLst>
            <pc:docMk/>
            <pc:sldMk cId="2037264480" sldId="827"/>
            <ac:spMk id="2" creationId="{7160B82A-B135-7FF7-CCFC-672DC7E02529}"/>
          </ac:spMkLst>
        </pc:spChg>
      </pc:sldChg>
      <pc:sldChg chg="add mod ord modShow">
        <pc:chgData name="Josephine Steppat" userId="ad9ceb25-8da7-411f-bf87-5981331f6d79" providerId="ADAL" clId="{B10A3F92-5040-4D0F-B017-A6F004101CDA}" dt="2024-11-13T12:57:13.779" v="194" actId="729"/>
        <pc:sldMkLst>
          <pc:docMk/>
          <pc:sldMk cId="2852983627" sldId="828"/>
        </pc:sldMkLst>
      </pc:sldChg>
      <pc:sldChg chg="modSp add mod">
        <pc:chgData name="Josephine Steppat" userId="ad9ceb25-8da7-411f-bf87-5981331f6d79" providerId="ADAL" clId="{B10A3F92-5040-4D0F-B017-A6F004101CDA}" dt="2024-11-22T13:17:38.623" v="392" actId="20577"/>
        <pc:sldMkLst>
          <pc:docMk/>
          <pc:sldMk cId="2191591839" sldId="829"/>
        </pc:sldMkLst>
        <pc:spChg chg="mod">
          <ac:chgData name="Josephine Steppat" userId="ad9ceb25-8da7-411f-bf87-5981331f6d79" providerId="ADAL" clId="{B10A3F92-5040-4D0F-B017-A6F004101CDA}" dt="2024-11-13T12:36:38.062" v="176" actId="20577"/>
          <ac:spMkLst>
            <pc:docMk/>
            <pc:sldMk cId="2191591839" sldId="829"/>
            <ac:spMk id="7" creationId="{901594CE-419C-BAAF-241C-F21D43704E7F}"/>
          </ac:spMkLst>
        </pc:spChg>
        <pc:spChg chg="mod">
          <ac:chgData name="Josephine Steppat" userId="ad9ceb25-8da7-411f-bf87-5981331f6d79" providerId="ADAL" clId="{B10A3F92-5040-4D0F-B017-A6F004101CDA}" dt="2024-11-22T13:17:38.623" v="392" actId="20577"/>
          <ac:spMkLst>
            <pc:docMk/>
            <pc:sldMk cId="2191591839" sldId="829"/>
            <ac:spMk id="10" creationId="{054CC052-2E80-787B-5E98-7511F127A1C8}"/>
          </ac:spMkLst>
        </pc:spChg>
        <pc:graphicFrameChg chg="mod">
          <ac:chgData name="Josephine Steppat" userId="ad9ceb25-8da7-411f-bf87-5981331f6d79" providerId="ADAL" clId="{B10A3F92-5040-4D0F-B017-A6F004101CDA}" dt="2024-11-13T14:21:54.569" v="236" actId="20577"/>
          <ac:graphicFrameMkLst>
            <pc:docMk/>
            <pc:sldMk cId="2191591839" sldId="829"/>
            <ac:graphicFrameMk id="4" creationId="{DBC52112-3A37-41EA-81DB-BFF95703C0C8}"/>
          </ac:graphicFrameMkLst>
        </pc:graphicFrameChg>
      </pc:sldChg>
      <pc:sldMasterChg chg="delSldLayout modSldLayout">
        <pc:chgData name="Josephine Steppat" userId="ad9ceb25-8da7-411f-bf87-5981331f6d79" providerId="ADAL" clId="{B10A3F92-5040-4D0F-B017-A6F004101CDA}" dt="2024-11-14T15:35:15.332" v="373" actId="207"/>
        <pc:sldMasterMkLst>
          <pc:docMk/>
          <pc:sldMasterMk cId="267563118" sldId="2147483648"/>
        </pc:sldMasterMkLst>
        <pc:sldLayoutChg chg="addSp delSp modSp">
          <pc:chgData name="Josephine Steppat" userId="ad9ceb25-8da7-411f-bf87-5981331f6d79" providerId="ADAL" clId="{B10A3F92-5040-4D0F-B017-A6F004101CDA}" dt="2024-11-13T12:27:27.468" v="131"/>
          <pc:sldLayoutMkLst>
            <pc:docMk/>
            <pc:sldMasterMk cId="267563118" sldId="2147483648"/>
            <pc:sldLayoutMk cId="557038046" sldId="2147483773"/>
          </pc:sldLayoutMkLst>
          <pc:picChg chg="add mod">
            <ac:chgData name="Josephine Steppat" userId="ad9ceb25-8da7-411f-bf87-5981331f6d79" providerId="ADAL" clId="{B10A3F92-5040-4D0F-B017-A6F004101CDA}" dt="2024-11-13T12:27:27.468" v="131"/>
            <ac:picMkLst>
              <pc:docMk/>
              <pc:sldMasterMk cId="267563118" sldId="2147483648"/>
              <pc:sldLayoutMk cId="557038046" sldId="2147483773"/>
              <ac:picMk id="2" creationId="{033700F7-A030-8DCB-7488-D840DE3F432A}"/>
            </ac:picMkLst>
          </pc:picChg>
          <pc:picChg chg="del">
            <ac:chgData name="Josephine Steppat" userId="ad9ceb25-8da7-411f-bf87-5981331f6d79" providerId="ADAL" clId="{B10A3F92-5040-4D0F-B017-A6F004101CDA}" dt="2024-11-13T12:27:27.204" v="130" actId="478"/>
            <ac:picMkLst>
              <pc:docMk/>
              <pc:sldMasterMk cId="267563118" sldId="2147483648"/>
              <pc:sldLayoutMk cId="557038046" sldId="2147483773"/>
              <ac:picMk id="18" creationId="{00000000-0000-0000-0000-000000000000}"/>
            </ac:picMkLst>
          </pc:picChg>
        </pc:sldLayoutChg>
        <pc:sldLayoutChg chg="addSp delSp modSp">
          <pc:chgData name="Josephine Steppat" userId="ad9ceb25-8da7-411f-bf87-5981331f6d79" providerId="ADAL" clId="{B10A3F92-5040-4D0F-B017-A6F004101CDA}" dt="2024-11-13T12:27:24.409" v="129"/>
          <pc:sldLayoutMkLst>
            <pc:docMk/>
            <pc:sldMasterMk cId="267563118" sldId="2147483648"/>
            <pc:sldLayoutMk cId="1022383444" sldId="2147483774"/>
          </pc:sldLayoutMkLst>
          <pc:picChg chg="add mod">
            <ac:chgData name="Josephine Steppat" userId="ad9ceb25-8da7-411f-bf87-5981331f6d79" providerId="ADAL" clId="{B10A3F92-5040-4D0F-B017-A6F004101CDA}" dt="2024-11-13T12:27:24.409" v="129"/>
            <ac:picMkLst>
              <pc:docMk/>
              <pc:sldMasterMk cId="267563118" sldId="2147483648"/>
              <pc:sldLayoutMk cId="1022383444" sldId="2147483774"/>
              <ac:picMk id="2" creationId="{E9CA738F-1758-CD4D-D91C-569327CAA01D}"/>
            </ac:picMkLst>
          </pc:picChg>
          <pc:picChg chg="del">
            <ac:chgData name="Josephine Steppat" userId="ad9ceb25-8da7-411f-bf87-5981331f6d79" providerId="ADAL" clId="{B10A3F92-5040-4D0F-B017-A6F004101CDA}" dt="2024-11-13T12:27:24.141" v="128" actId="478"/>
            <ac:picMkLst>
              <pc:docMk/>
              <pc:sldMasterMk cId="267563118" sldId="2147483648"/>
              <pc:sldLayoutMk cId="1022383444" sldId="2147483774"/>
              <ac:picMk id="7" creationId="{00000000-0000-0000-0000-000000000000}"/>
            </ac:picMkLst>
          </pc:picChg>
        </pc:sldLayoutChg>
        <pc:sldLayoutChg chg="addSp delSp modSp mod">
          <pc:chgData name="Josephine Steppat" userId="ad9ceb25-8da7-411f-bf87-5981331f6d79" providerId="ADAL" clId="{B10A3F92-5040-4D0F-B017-A6F004101CDA}" dt="2024-11-13T12:27:18.475" v="127" actId="1076"/>
          <pc:sldLayoutMkLst>
            <pc:docMk/>
            <pc:sldMasterMk cId="267563118" sldId="2147483648"/>
            <pc:sldLayoutMk cId="2883276843" sldId="2147483775"/>
          </pc:sldLayoutMkLst>
          <pc:picChg chg="add mod">
            <ac:chgData name="Josephine Steppat" userId="ad9ceb25-8da7-411f-bf87-5981331f6d79" providerId="ADAL" clId="{B10A3F92-5040-4D0F-B017-A6F004101CDA}" dt="2024-11-13T12:27:18.475" v="127" actId="1076"/>
            <ac:picMkLst>
              <pc:docMk/>
              <pc:sldMasterMk cId="267563118" sldId="2147483648"/>
              <pc:sldLayoutMk cId="2883276843" sldId="2147483775"/>
              <ac:picMk id="2" creationId="{1D1F57D4-2D42-690D-E887-30C0D26C3FF5}"/>
            </ac:picMkLst>
          </pc:picChg>
          <pc:picChg chg="del">
            <ac:chgData name="Josephine Steppat" userId="ad9ceb25-8da7-411f-bf87-5981331f6d79" providerId="ADAL" clId="{B10A3F92-5040-4D0F-B017-A6F004101CDA}" dt="2024-11-13T12:27:15.732" v="125" actId="478"/>
            <ac:picMkLst>
              <pc:docMk/>
              <pc:sldMasterMk cId="267563118" sldId="2147483648"/>
              <pc:sldLayoutMk cId="2883276843" sldId="2147483775"/>
              <ac:picMk id="14" creationId="{00000000-0000-0000-0000-000000000000}"/>
            </ac:picMkLst>
          </pc:picChg>
        </pc:sldLayoutChg>
        <pc:sldLayoutChg chg="addSp delSp modSp mod">
          <pc:chgData name="Josephine Steppat" userId="ad9ceb25-8da7-411f-bf87-5981331f6d79" providerId="ADAL" clId="{B10A3F92-5040-4D0F-B017-A6F004101CDA}" dt="2024-11-13T12:27:32.595" v="133"/>
          <pc:sldLayoutMkLst>
            <pc:docMk/>
            <pc:sldMasterMk cId="267563118" sldId="2147483648"/>
            <pc:sldLayoutMk cId="2878186426" sldId="2147483776"/>
          </pc:sldLayoutMkLst>
          <pc:picChg chg="add mod">
            <ac:chgData name="Josephine Steppat" userId="ad9ceb25-8da7-411f-bf87-5981331f6d79" providerId="ADAL" clId="{B10A3F92-5040-4D0F-B017-A6F004101CDA}" dt="2024-11-13T12:27:32.595" v="133"/>
            <ac:picMkLst>
              <pc:docMk/>
              <pc:sldMasterMk cId="267563118" sldId="2147483648"/>
              <pc:sldLayoutMk cId="2878186426" sldId="2147483776"/>
              <ac:picMk id="2" creationId="{FC0D6A9E-119E-C15A-2129-4DB4160FCC55}"/>
            </ac:picMkLst>
          </pc:picChg>
          <pc:picChg chg="del">
            <ac:chgData name="Josephine Steppat" userId="ad9ceb25-8da7-411f-bf87-5981331f6d79" providerId="ADAL" clId="{B10A3F92-5040-4D0F-B017-A6F004101CDA}" dt="2024-11-13T12:27:32.338" v="132" actId="478"/>
            <ac:picMkLst>
              <pc:docMk/>
              <pc:sldMasterMk cId="267563118" sldId="2147483648"/>
              <pc:sldLayoutMk cId="2878186426" sldId="2147483776"/>
              <ac:picMk id="13" creationId="{00000000-0000-0000-0000-000000000000}"/>
            </ac:picMkLst>
          </pc:picChg>
        </pc:sldLayoutChg>
        <pc:sldLayoutChg chg="addSp delSp modSp mod">
          <pc:chgData name="Josephine Steppat" userId="ad9ceb25-8da7-411f-bf87-5981331f6d79" providerId="ADAL" clId="{B10A3F92-5040-4D0F-B017-A6F004101CDA}" dt="2024-11-13T12:27:36.013" v="135"/>
          <pc:sldLayoutMkLst>
            <pc:docMk/>
            <pc:sldMasterMk cId="267563118" sldId="2147483648"/>
            <pc:sldLayoutMk cId="465548203" sldId="2147483777"/>
          </pc:sldLayoutMkLst>
          <pc:picChg chg="add mod">
            <ac:chgData name="Josephine Steppat" userId="ad9ceb25-8da7-411f-bf87-5981331f6d79" providerId="ADAL" clId="{B10A3F92-5040-4D0F-B017-A6F004101CDA}" dt="2024-11-13T12:27:36.013" v="135"/>
            <ac:picMkLst>
              <pc:docMk/>
              <pc:sldMasterMk cId="267563118" sldId="2147483648"/>
              <pc:sldLayoutMk cId="465548203" sldId="2147483777"/>
              <ac:picMk id="2" creationId="{2A031E0A-0530-3EAC-9570-0772E66D1827}"/>
            </ac:picMkLst>
          </pc:picChg>
          <pc:picChg chg="del">
            <ac:chgData name="Josephine Steppat" userId="ad9ceb25-8da7-411f-bf87-5981331f6d79" providerId="ADAL" clId="{B10A3F92-5040-4D0F-B017-A6F004101CDA}" dt="2024-11-13T12:27:35.740" v="134" actId="478"/>
            <ac:picMkLst>
              <pc:docMk/>
              <pc:sldMasterMk cId="267563118" sldId="2147483648"/>
              <pc:sldLayoutMk cId="465548203" sldId="2147483777"/>
              <ac:picMk id="17" creationId="{00000000-0000-0000-0000-000000000000}"/>
            </ac:picMkLst>
          </pc:picChg>
        </pc:sldLayoutChg>
        <pc:sldLayoutChg chg="addSp delSp modSp mod">
          <pc:chgData name="Josephine Steppat" userId="ad9ceb25-8da7-411f-bf87-5981331f6d79" providerId="ADAL" clId="{B10A3F92-5040-4D0F-B017-A6F004101CDA}" dt="2024-11-13T12:27:39.185" v="137"/>
          <pc:sldLayoutMkLst>
            <pc:docMk/>
            <pc:sldMasterMk cId="267563118" sldId="2147483648"/>
            <pc:sldLayoutMk cId="1318527050" sldId="2147483783"/>
          </pc:sldLayoutMkLst>
          <pc:picChg chg="add mod">
            <ac:chgData name="Josephine Steppat" userId="ad9ceb25-8da7-411f-bf87-5981331f6d79" providerId="ADAL" clId="{B10A3F92-5040-4D0F-B017-A6F004101CDA}" dt="2024-11-13T12:27:39.185" v="137"/>
            <ac:picMkLst>
              <pc:docMk/>
              <pc:sldMasterMk cId="267563118" sldId="2147483648"/>
              <pc:sldLayoutMk cId="1318527050" sldId="2147483783"/>
              <ac:picMk id="2" creationId="{DA39381F-3B9D-E976-E4B1-BC2A1C78D220}"/>
            </ac:picMkLst>
          </pc:picChg>
          <pc:picChg chg="del">
            <ac:chgData name="Josephine Steppat" userId="ad9ceb25-8da7-411f-bf87-5981331f6d79" providerId="ADAL" clId="{B10A3F92-5040-4D0F-B017-A6F004101CDA}" dt="2024-11-13T12:27:38.984" v="136" actId="478"/>
            <ac:picMkLst>
              <pc:docMk/>
              <pc:sldMasterMk cId="267563118" sldId="2147483648"/>
              <pc:sldLayoutMk cId="1318527050" sldId="2147483783"/>
              <ac:picMk id="24" creationId="{00000000-0000-0000-0000-000000000000}"/>
            </ac:picMkLst>
          </pc:picChg>
        </pc:sldLayoutChg>
        <pc:sldLayoutChg chg="addSp delSp modSp del">
          <pc:chgData name="Josephine Steppat" userId="ad9ceb25-8da7-411f-bf87-5981331f6d79" providerId="ADAL" clId="{B10A3F92-5040-4D0F-B017-A6F004101CDA}" dt="2024-11-13T12:37:53.984" v="179" actId="47"/>
          <pc:sldLayoutMkLst>
            <pc:docMk/>
            <pc:sldMasterMk cId="267563118" sldId="2147483648"/>
            <pc:sldLayoutMk cId="3012195079" sldId="2147483786"/>
          </pc:sldLayoutMkLst>
          <pc:picChg chg="add mod">
            <ac:chgData name="Josephine Steppat" userId="ad9ceb25-8da7-411f-bf87-5981331f6d79" providerId="ADAL" clId="{B10A3F92-5040-4D0F-B017-A6F004101CDA}" dt="2024-11-13T12:27:42.242" v="139"/>
            <ac:picMkLst>
              <pc:docMk/>
              <pc:sldMasterMk cId="267563118" sldId="2147483648"/>
              <pc:sldLayoutMk cId="3012195079" sldId="2147483786"/>
              <ac:picMk id="2" creationId="{C217C68F-7AEC-47B7-21CC-D06D4C2440D0}"/>
            </ac:picMkLst>
          </pc:picChg>
          <pc:picChg chg="del">
            <ac:chgData name="Josephine Steppat" userId="ad9ceb25-8da7-411f-bf87-5981331f6d79" providerId="ADAL" clId="{B10A3F92-5040-4D0F-B017-A6F004101CDA}" dt="2024-11-13T12:27:42.022" v="138" actId="478"/>
            <ac:picMkLst>
              <pc:docMk/>
              <pc:sldMasterMk cId="267563118" sldId="2147483648"/>
              <pc:sldLayoutMk cId="3012195079" sldId="2147483786"/>
              <ac:picMk id="16" creationId="{00000000-0000-0000-0000-000000000000}"/>
            </ac:picMkLst>
          </pc:picChg>
        </pc:sldLayoutChg>
        <pc:sldLayoutChg chg="del">
          <pc:chgData name="Josephine Steppat" userId="ad9ceb25-8da7-411f-bf87-5981331f6d79" providerId="ADAL" clId="{B10A3F92-5040-4D0F-B017-A6F004101CDA}" dt="2024-11-13T12:35:04.171" v="165" actId="47"/>
          <pc:sldLayoutMkLst>
            <pc:docMk/>
            <pc:sldMasterMk cId="267563118" sldId="2147483648"/>
            <pc:sldLayoutMk cId="3161238364" sldId="2147483787"/>
          </pc:sldLayoutMkLst>
        </pc:sldLayoutChg>
        <pc:sldLayoutChg chg="modSp mod">
          <pc:chgData name="Josephine Steppat" userId="ad9ceb25-8da7-411f-bf87-5981331f6d79" providerId="ADAL" clId="{B10A3F92-5040-4D0F-B017-A6F004101CDA}" dt="2024-11-14T15:35:15.332" v="373" actId="207"/>
          <pc:sldLayoutMkLst>
            <pc:docMk/>
            <pc:sldMasterMk cId="267563118" sldId="2147483648"/>
            <pc:sldLayoutMk cId="755155160" sldId="2147483789"/>
          </pc:sldLayoutMkLst>
          <pc:spChg chg="mod">
            <ac:chgData name="Josephine Steppat" userId="ad9ceb25-8da7-411f-bf87-5981331f6d79" providerId="ADAL" clId="{B10A3F92-5040-4D0F-B017-A6F004101CDA}" dt="2024-11-14T15:35:15.332" v="373" actId="207"/>
            <ac:spMkLst>
              <pc:docMk/>
              <pc:sldMasterMk cId="267563118" sldId="2147483648"/>
              <pc:sldLayoutMk cId="755155160" sldId="2147483789"/>
              <ac:spMk id="14" creationId="{4519D7DE-64DE-7863-82A9-41AA165BC79E}"/>
            </ac:spMkLst>
          </pc:spChg>
        </pc:sldLayoutChg>
      </pc:sldMasterChg>
      <pc:sldMasterChg chg="modSldLayout">
        <pc:chgData name="Josephine Steppat" userId="ad9ceb25-8da7-411f-bf87-5981331f6d79" providerId="ADAL" clId="{B10A3F92-5040-4D0F-B017-A6F004101CDA}" dt="2024-11-14T15:32:25.454" v="370"/>
        <pc:sldMasterMkLst>
          <pc:docMk/>
          <pc:sldMasterMk cId="2133899516" sldId="2147483661"/>
        </pc:sldMasterMkLst>
        <pc:sldLayoutChg chg="addSp delSp modSp mod">
          <pc:chgData name="Josephine Steppat" userId="ad9ceb25-8da7-411f-bf87-5981331f6d79" providerId="ADAL" clId="{B10A3F92-5040-4D0F-B017-A6F004101CDA}" dt="2024-11-14T15:32:08.078" v="362" actId="1076"/>
          <pc:sldLayoutMkLst>
            <pc:docMk/>
            <pc:sldMasterMk cId="2133899516" sldId="2147483661"/>
            <pc:sldLayoutMk cId="1323766103" sldId="2147483778"/>
          </pc:sldLayoutMkLst>
          <pc:picChg chg="add mod">
            <ac:chgData name="Josephine Steppat" userId="ad9ceb25-8da7-411f-bf87-5981331f6d79" providerId="ADAL" clId="{B10A3F92-5040-4D0F-B017-A6F004101CDA}" dt="2024-11-14T15:32:08.078" v="362" actId="1076"/>
            <ac:picMkLst>
              <pc:docMk/>
              <pc:sldMasterMk cId="2133899516" sldId="2147483661"/>
              <pc:sldLayoutMk cId="1323766103" sldId="2147483778"/>
              <ac:picMk id="2" creationId="{75BDCF5D-1F84-E3BA-1EB1-64AF186D971E}"/>
            </ac:picMkLst>
          </pc:picChg>
          <pc:picChg chg="del">
            <ac:chgData name="Josephine Steppat" userId="ad9ceb25-8da7-411f-bf87-5981331f6d79" providerId="ADAL" clId="{B10A3F92-5040-4D0F-B017-A6F004101CDA}" dt="2024-11-14T15:32:05.174" v="360" actId="478"/>
            <ac:picMkLst>
              <pc:docMk/>
              <pc:sldMasterMk cId="2133899516" sldId="2147483661"/>
              <pc:sldLayoutMk cId="1323766103" sldId="2147483778"/>
              <ac:picMk id="16" creationId="{00000000-0000-0000-0000-000000000000}"/>
            </ac:picMkLst>
          </pc:picChg>
        </pc:sldLayoutChg>
        <pc:sldLayoutChg chg="addSp delSp modSp">
          <pc:chgData name="Josephine Steppat" userId="ad9ceb25-8da7-411f-bf87-5981331f6d79" providerId="ADAL" clId="{B10A3F92-5040-4D0F-B017-A6F004101CDA}" dt="2024-11-14T15:32:12.561" v="364"/>
          <pc:sldLayoutMkLst>
            <pc:docMk/>
            <pc:sldMasterMk cId="2133899516" sldId="2147483661"/>
            <pc:sldLayoutMk cId="3059118975" sldId="2147483779"/>
          </pc:sldLayoutMkLst>
          <pc:picChg chg="add mod">
            <ac:chgData name="Josephine Steppat" userId="ad9ceb25-8da7-411f-bf87-5981331f6d79" providerId="ADAL" clId="{B10A3F92-5040-4D0F-B017-A6F004101CDA}" dt="2024-11-14T15:32:12.561" v="364"/>
            <ac:picMkLst>
              <pc:docMk/>
              <pc:sldMasterMk cId="2133899516" sldId="2147483661"/>
              <pc:sldLayoutMk cId="3059118975" sldId="2147483779"/>
              <ac:picMk id="2" creationId="{5A3E7C40-E0D6-FE0F-7038-82973A0D59E1}"/>
            </ac:picMkLst>
          </pc:picChg>
          <pc:picChg chg="del">
            <ac:chgData name="Josephine Steppat" userId="ad9ceb25-8da7-411f-bf87-5981331f6d79" providerId="ADAL" clId="{B10A3F92-5040-4D0F-B017-A6F004101CDA}" dt="2024-11-14T15:32:12.344" v="363" actId="478"/>
            <ac:picMkLst>
              <pc:docMk/>
              <pc:sldMasterMk cId="2133899516" sldId="2147483661"/>
              <pc:sldLayoutMk cId="3059118975" sldId="2147483779"/>
              <ac:picMk id="10" creationId="{00000000-0000-0000-0000-000000000000}"/>
            </ac:picMkLst>
          </pc:picChg>
        </pc:sldLayoutChg>
        <pc:sldLayoutChg chg="addSp delSp modSp">
          <pc:chgData name="Josephine Steppat" userId="ad9ceb25-8da7-411f-bf87-5981331f6d79" providerId="ADAL" clId="{B10A3F92-5040-4D0F-B017-A6F004101CDA}" dt="2024-11-14T15:32:17.881" v="366"/>
          <pc:sldLayoutMkLst>
            <pc:docMk/>
            <pc:sldMasterMk cId="2133899516" sldId="2147483661"/>
            <pc:sldLayoutMk cId="3268008228" sldId="2147483781"/>
          </pc:sldLayoutMkLst>
          <pc:picChg chg="add mod">
            <ac:chgData name="Josephine Steppat" userId="ad9ceb25-8da7-411f-bf87-5981331f6d79" providerId="ADAL" clId="{B10A3F92-5040-4D0F-B017-A6F004101CDA}" dt="2024-11-14T15:32:17.881" v="366"/>
            <ac:picMkLst>
              <pc:docMk/>
              <pc:sldMasterMk cId="2133899516" sldId="2147483661"/>
              <pc:sldLayoutMk cId="3268008228" sldId="2147483781"/>
              <ac:picMk id="2" creationId="{A7966986-1380-F106-45C4-952D1434EECB}"/>
            </ac:picMkLst>
          </pc:picChg>
          <pc:picChg chg="del">
            <ac:chgData name="Josephine Steppat" userId="ad9ceb25-8da7-411f-bf87-5981331f6d79" providerId="ADAL" clId="{B10A3F92-5040-4D0F-B017-A6F004101CDA}" dt="2024-11-14T15:32:17.614" v="365" actId="478"/>
            <ac:picMkLst>
              <pc:docMk/>
              <pc:sldMasterMk cId="2133899516" sldId="2147483661"/>
              <pc:sldLayoutMk cId="3268008228" sldId="2147483781"/>
              <ac:picMk id="18" creationId="{00000000-0000-0000-0000-000000000000}"/>
            </ac:picMkLst>
          </pc:picChg>
        </pc:sldLayoutChg>
        <pc:sldLayoutChg chg="addSp delSp modSp mod">
          <pc:chgData name="Josephine Steppat" userId="ad9ceb25-8da7-411f-bf87-5981331f6d79" providerId="ADAL" clId="{B10A3F92-5040-4D0F-B017-A6F004101CDA}" dt="2024-11-14T15:32:21.730" v="368"/>
          <pc:sldLayoutMkLst>
            <pc:docMk/>
            <pc:sldMasterMk cId="2133899516" sldId="2147483661"/>
            <pc:sldLayoutMk cId="476721200" sldId="2147483784"/>
          </pc:sldLayoutMkLst>
          <pc:picChg chg="add mod">
            <ac:chgData name="Josephine Steppat" userId="ad9ceb25-8da7-411f-bf87-5981331f6d79" providerId="ADAL" clId="{B10A3F92-5040-4D0F-B017-A6F004101CDA}" dt="2024-11-14T15:32:21.730" v="368"/>
            <ac:picMkLst>
              <pc:docMk/>
              <pc:sldMasterMk cId="2133899516" sldId="2147483661"/>
              <pc:sldLayoutMk cId="476721200" sldId="2147483784"/>
              <ac:picMk id="2" creationId="{72B238BD-662F-C386-86E8-DD984CC1B10F}"/>
            </ac:picMkLst>
          </pc:picChg>
          <pc:picChg chg="del">
            <ac:chgData name="Josephine Steppat" userId="ad9ceb25-8da7-411f-bf87-5981331f6d79" providerId="ADAL" clId="{B10A3F92-5040-4D0F-B017-A6F004101CDA}" dt="2024-11-14T15:32:21.507" v="367" actId="478"/>
            <ac:picMkLst>
              <pc:docMk/>
              <pc:sldMasterMk cId="2133899516" sldId="2147483661"/>
              <pc:sldLayoutMk cId="476721200" sldId="2147483784"/>
              <ac:picMk id="24" creationId="{00000000-0000-0000-0000-000000000000}"/>
            </ac:picMkLst>
          </pc:picChg>
        </pc:sldLayoutChg>
        <pc:sldLayoutChg chg="addSp delSp modSp">
          <pc:chgData name="Josephine Steppat" userId="ad9ceb25-8da7-411f-bf87-5981331f6d79" providerId="ADAL" clId="{B10A3F92-5040-4D0F-B017-A6F004101CDA}" dt="2024-11-14T15:32:25.454" v="370"/>
          <pc:sldLayoutMkLst>
            <pc:docMk/>
            <pc:sldMasterMk cId="2133899516" sldId="2147483661"/>
            <pc:sldLayoutMk cId="444540959" sldId="2147483785"/>
          </pc:sldLayoutMkLst>
          <pc:picChg chg="add mod">
            <ac:chgData name="Josephine Steppat" userId="ad9ceb25-8da7-411f-bf87-5981331f6d79" providerId="ADAL" clId="{B10A3F92-5040-4D0F-B017-A6F004101CDA}" dt="2024-11-14T15:32:25.454" v="370"/>
            <ac:picMkLst>
              <pc:docMk/>
              <pc:sldMasterMk cId="2133899516" sldId="2147483661"/>
              <pc:sldLayoutMk cId="444540959" sldId="2147483785"/>
              <ac:picMk id="2" creationId="{9C1BA0C5-F81A-723F-A8F4-0C3BEF5AE9DE}"/>
            </ac:picMkLst>
          </pc:picChg>
          <pc:picChg chg="del">
            <ac:chgData name="Josephine Steppat" userId="ad9ceb25-8da7-411f-bf87-5981331f6d79" providerId="ADAL" clId="{B10A3F92-5040-4D0F-B017-A6F004101CDA}" dt="2024-11-14T15:32:25.223" v="369" actId="478"/>
            <ac:picMkLst>
              <pc:docMk/>
              <pc:sldMasterMk cId="2133899516" sldId="2147483661"/>
              <pc:sldLayoutMk cId="444540959" sldId="2147483785"/>
              <ac:picMk id="7" creationId="{00000000-0000-0000-0000-000000000000}"/>
            </ac:picMkLst>
          </pc:picChg>
        </pc:sldLayoutChg>
      </pc:sldMasterChg>
    </pc:docChg>
  </pc:docChgLst>
  <pc:docChgLst>
    <pc:chgData name="Josephine Steppat" userId="ad9ceb25-8da7-411f-bf87-5981331f6d79" providerId="ADAL" clId="{38664E0A-DE64-40D1-A523-8FEAAA8AB216}"/>
    <pc:docChg chg="undo custSel addSld delSld modSld sldOrd addSection modSection">
      <pc:chgData name="Josephine Steppat" userId="ad9ceb25-8da7-411f-bf87-5981331f6d79" providerId="ADAL" clId="{38664E0A-DE64-40D1-A523-8FEAAA8AB216}" dt="2024-10-11T14:43:39.136" v="152"/>
      <pc:docMkLst>
        <pc:docMk/>
      </pc:docMkLst>
      <pc:sldChg chg="modSp mod">
        <pc:chgData name="Josephine Steppat" userId="ad9ceb25-8da7-411f-bf87-5981331f6d79" providerId="ADAL" clId="{38664E0A-DE64-40D1-A523-8FEAAA8AB216}" dt="2024-10-09T12:51:36.583" v="3" actId="20577"/>
        <pc:sldMkLst>
          <pc:docMk/>
          <pc:sldMk cId="2604930823" sldId="256"/>
        </pc:sldMkLst>
        <pc:spChg chg="mod">
          <ac:chgData name="Josephine Steppat" userId="ad9ceb25-8da7-411f-bf87-5981331f6d79" providerId="ADAL" clId="{38664E0A-DE64-40D1-A523-8FEAAA8AB216}" dt="2024-10-09T12:51:36.583" v="3" actId="20577"/>
          <ac:spMkLst>
            <pc:docMk/>
            <pc:sldMk cId="2604930823" sldId="256"/>
            <ac:spMk id="3" creationId="{BD7738DD-2B1E-238B-8EF1-7B5515B199B7}"/>
          </ac:spMkLst>
        </pc:spChg>
      </pc:sldChg>
      <pc:sldChg chg="addSp delSp modSp mod">
        <pc:chgData name="Josephine Steppat" userId="ad9ceb25-8da7-411f-bf87-5981331f6d79" providerId="ADAL" clId="{38664E0A-DE64-40D1-A523-8FEAAA8AB216}" dt="2024-10-09T14:00:35.804" v="9" actId="14100"/>
        <pc:sldMkLst>
          <pc:docMk/>
          <pc:sldMk cId="2636265397" sldId="258"/>
        </pc:sldMkLst>
        <pc:graphicFrameChg chg="add mod">
          <ac:chgData name="Josephine Steppat" userId="ad9ceb25-8da7-411f-bf87-5981331f6d79" providerId="ADAL" clId="{38664E0A-DE64-40D1-A523-8FEAAA8AB216}" dt="2024-10-09T14:00:35.804" v="9" actId="14100"/>
          <ac:graphicFrameMkLst>
            <pc:docMk/>
            <pc:sldMk cId="2636265397" sldId="258"/>
            <ac:graphicFrameMk id="3" creationId="{AFA12DD1-F571-C70F-B450-1987C81521E2}"/>
          </ac:graphicFrameMkLst>
        </pc:graphicFrameChg>
        <pc:graphicFrameChg chg="del">
          <ac:chgData name="Josephine Steppat" userId="ad9ceb25-8da7-411f-bf87-5981331f6d79" providerId="ADAL" clId="{38664E0A-DE64-40D1-A523-8FEAAA8AB216}" dt="2024-10-09T13:59:45.939" v="4" actId="478"/>
          <ac:graphicFrameMkLst>
            <pc:docMk/>
            <pc:sldMk cId="2636265397" sldId="258"/>
            <ac:graphicFrameMk id="7" creationId="{27DAED08-1EC9-5634-970C-7124CA3B69DB}"/>
          </ac:graphicFrameMkLst>
        </pc:graphicFrameChg>
      </pc:sldChg>
      <pc:sldChg chg="addSp delSp modSp mod ord">
        <pc:chgData name="Josephine Steppat" userId="ad9ceb25-8da7-411f-bf87-5981331f6d79" providerId="ADAL" clId="{38664E0A-DE64-40D1-A523-8FEAAA8AB216}" dt="2024-10-11T14:22:49.027" v="144"/>
        <pc:sldMkLst>
          <pc:docMk/>
          <pc:sldMk cId="3480348253" sldId="259"/>
        </pc:sldMkLst>
        <pc:graphicFrameChg chg="del">
          <ac:chgData name="Josephine Steppat" userId="ad9ceb25-8da7-411f-bf87-5981331f6d79" providerId="ADAL" clId="{38664E0A-DE64-40D1-A523-8FEAAA8AB216}" dt="2024-10-09T13:59:54.771" v="5" actId="478"/>
          <ac:graphicFrameMkLst>
            <pc:docMk/>
            <pc:sldMk cId="3480348253" sldId="259"/>
            <ac:graphicFrameMk id="3" creationId="{02D44E60-7AE2-48BF-A745-71F23E86B78B}"/>
          </ac:graphicFrameMkLst>
        </pc:graphicFrameChg>
        <pc:graphicFrameChg chg="add mod">
          <ac:chgData name="Josephine Steppat" userId="ad9ceb25-8da7-411f-bf87-5981331f6d79" providerId="ADAL" clId="{38664E0A-DE64-40D1-A523-8FEAAA8AB216}" dt="2024-10-09T14:01:02.230" v="14" actId="14100"/>
          <ac:graphicFrameMkLst>
            <pc:docMk/>
            <pc:sldMk cId="3480348253" sldId="259"/>
            <ac:graphicFrameMk id="6" creationId="{31103955-0FD4-4F2A-8982-2EB706FEB9DC}"/>
          </ac:graphicFrameMkLst>
        </pc:graphicFrameChg>
      </pc:sldChg>
      <pc:sldChg chg="new del">
        <pc:chgData name="Josephine Steppat" userId="ad9ceb25-8da7-411f-bf87-5981331f6d79" providerId="ADAL" clId="{38664E0A-DE64-40D1-A523-8FEAAA8AB216}" dt="2024-10-09T14:04:50.022" v="57" actId="47"/>
        <pc:sldMkLst>
          <pc:docMk/>
          <pc:sldMk cId="3988873625" sldId="260"/>
        </pc:sldMkLst>
      </pc:sldChg>
      <pc:sldChg chg="addSp delSp modSp add mod">
        <pc:chgData name="Josephine Steppat" userId="ad9ceb25-8da7-411f-bf87-5981331f6d79" providerId="ADAL" clId="{38664E0A-DE64-40D1-A523-8FEAAA8AB216}" dt="2024-10-09T14:04:17.404" v="56" actId="1076"/>
        <pc:sldMkLst>
          <pc:docMk/>
          <pc:sldMk cId="3379076849" sldId="261"/>
        </pc:sldMkLst>
        <pc:spChg chg="mod">
          <ac:chgData name="Josephine Steppat" userId="ad9ceb25-8da7-411f-bf87-5981331f6d79" providerId="ADAL" clId="{38664E0A-DE64-40D1-A523-8FEAAA8AB216}" dt="2024-10-09T14:03:47.378" v="49" actId="20577"/>
          <ac:spMkLst>
            <pc:docMk/>
            <pc:sldMk cId="3379076849" sldId="261"/>
            <ac:spMk id="2" creationId="{B8E63508-1037-9C55-8F7B-2AA4DB641549}"/>
          </ac:spMkLst>
        </pc:spChg>
        <pc:spChg chg="mod">
          <ac:chgData name="Josephine Steppat" userId="ad9ceb25-8da7-411f-bf87-5981331f6d79" providerId="ADAL" clId="{38664E0A-DE64-40D1-A523-8FEAAA8AB216}" dt="2024-10-09T14:03:51.288" v="50" actId="20577"/>
          <ac:spMkLst>
            <pc:docMk/>
            <pc:sldMk cId="3379076849" sldId="261"/>
            <ac:spMk id="4" creationId="{B8D982C8-0D80-F1FB-0789-56A529B0981A}"/>
          </ac:spMkLst>
        </pc:spChg>
        <pc:graphicFrameChg chg="add mod">
          <ac:chgData name="Josephine Steppat" userId="ad9ceb25-8da7-411f-bf87-5981331f6d79" providerId="ADAL" clId="{38664E0A-DE64-40D1-A523-8FEAAA8AB216}" dt="2024-10-09T14:04:17.404" v="56" actId="1076"/>
          <ac:graphicFrameMkLst>
            <pc:docMk/>
            <pc:sldMk cId="3379076849" sldId="261"/>
            <ac:graphicFrameMk id="3" creationId="{8AF20111-CAE1-4481-A6D4-38997A33C2B7}"/>
          </ac:graphicFrameMkLst>
        </pc:graphicFrameChg>
        <pc:graphicFrameChg chg="del">
          <ac:chgData name="Josephine Steppat" userId="ad9ceb25-8da7-411f-bf87-5981331f6d79" providerId="ADAL" clId="{38664E0A-DE64-40D1-A523-8FEAAA8AB216}" dt="2024-10-09T14:03:35.489" v="17" actId="478"/>
          <ac:graphicFrameMkLst>
            <pc:docMk/>
            <pc:sldMk cId="3379076849" sldId="261"/>
            <ac:graphicFrameMk id="6" creationId="{31103955-0FD4-4F2A-8982-2EB706FEB9DC}"/>
          </ac:graphicFrameMkLst>
        </pc:graphicFrameChg>
      </pc:sldChg>
      <pc:sldChg chg="addSp modSp add mod setBg">
        <pc:chgData name="Josephine Steppat" userId="ad9ceb25-8da7-411f-bf87-5981331f6d79" providerId="ADAL" clId="{38664E0A-DE64-40D1-A523-8FEAAA8AB216}" dt="2024-10-11T14:21:44.385" v="137" actId="1076"/>
        <pc:sldMkLst>
          <pc:docMk/>
          <pc:sldMk cId="3553969938" sldId="262"/>
        </pc:sldMkLst>
        <pc:spChg chg="add mod">
          <ac:chgData name="Josephine Steppat" userId="ad9ceb25-8da7-411f-bf87-5981331f6d79" providerId="ADAL" clId="{38664E0A-DE64-40D1-A523-8FEAAA8AB216}" dt="2024-10-11T14:21:44.385" v="137" actId="1076"/>
          <ac:spMkLst>
            <pc:docMk/>
            <pc:sldMk cId="3553969938" sldId="262"/>
            <ac:spMk id="2" creationId="{0C65CCA5-12EF-470A-F08E-E22F98BA2E97}"/>
          </ac:spMkLst>
        </pc:spChg>
      </pc:sldChg>
      <pc:sldChg chg="add">
        <pc:chgData name="Josephine Steppat" userId="ad9ceb25-8da7-411f-bf87-5981331f6d79" providerId="ADAL" clId="{38664E0A-DE64-40D1-A523-8FEAAA8AB216}" dt="2024-10-11T14:42:49.259" v="150"/>
        <pc:sldMkLst>
          <pc:docMk/>
          <pc:sldMk cId="920877821" sldId="264"/>
        </pc:sldMkLst>
      </pc:sldChg>
      <pc:sldChg chg="addSp modSp add setBg">
        <pc:chgData name="Josephine Steppat" userId="ad9ceb25-8da7-411f-bf87-5981331f6d79" providerId="ADAL" clId="{38664E0A-DE64-40D1-A523-8FEAAA8AB216}" dt="2024-10-11T14:21:53.780" v="138"/>
        <pc:sldMkLst>
          <pc:docMk/>
          <pc:sldMk cId="3334318847" sldId="271"/>
        </pc:sldMkLst>
        <pc:spChg chg="add mod">
          <ac:chgData name="Josephine Steppat" userId="ad9ceb25-8da7-411f-bf87-5981331f6d79" providerId="ADAL" clId="{38664E0A-DE64-40D1-A523-8FEAAA8AB216}" dt="2024-10-11T14:21:53.780" v="138"/>
          <ac:spMkLst>
            <pc:docMk/>
            <pc:sldMk cId="3334318847" sldId="271"/>
            <ac:spMk id="3" creationId="{513CE96C-B84E-0BB8-8F16-F02280A1F374}"/>
          </ac:spMkLst>
        </pc:spChg>
      </pc:sldChg>
      <pc:sldChg chg="addSp delSp modSp add mod setBg">
        <pc:chgData name="Josephine Steppat" userId="ad9ceb25-8da7-411f-bf87-5981331f6d79" providerId="ADAL" clId="{38664E0A-DE64-40D1-A523-8FEAAA8AB216}" dt="2024-10-11T14:18:31.506" v="86" actId="478"/>
        <pc:sldMkLst>
          <pc:docMk/>
          <pc:sldMk cId="535711005" sldId="306"/>
        </pc:sldMkLst>
        <pc:spChg chg="del">
          <ac:chgData name="Josephine Steppat" userId="ad9ceb25-8da7-411f-bf87-5981331f6d79" providerId="ADAL" clId="{38664E0A-DE64-40D1-A523-8FEAAA8AB216}" dt="2024-10-11T14:18:13.190" v="82" actId="478"/>
          <ac:spMkLst>
            <pc:docMk/>
            <pc:sldMk cId="535711005" sldId="306"/>
            <ac:spMk id="4" creationId="{00000000-0000-0000-0000-000000000000}"/>
          </ac:spMkLst>
        </pc:spChg>
        <pc:spChg chg="add del mod">
          <ac:chgData name="Josephine Steppat" userId="ad9ceb25-8da7-411f-bf87-5981331f6d79" providerId="ADAL" clId="{38664E0A-DE64-40D1-A523-8FEAAA8AB216}" dt="2024-10-11T14:18:31.506" v="86" actId="478"/>
          <ac:spMkLst>
            <pc:docMk/>
            <pc:sldMk cId="535711005" sldId="306"/>
            <ac:spMk id="6" creationId="{C80D9F0A-EFD3-9C43-CD4F-D288B2FA959F}"/>
          </ac:spMkLst>
        </pc:spChg>
        <pc:spChg chg="del">
          <ac:chgData name="Josephine Steppat" userId="ad9ceb25-8da7-411f-bf87-5981331f6d79" providerId="ADAL" clId="{38664E0A-DE64-40D1-A523-8FEAAA8AB216}" dt="2024-10-11T13:53:24.182" v="59"/>
          <ac:spMkLst>
            <pc:docMk/>
            <pc:sldMk cId="535711005" sldId="306"/>
            <ac:spMk id="8" creationId="{00000000-0000-0000-0000-000000000000}"/>
          </ac:spMkLst>
        </pc:spChg>
        <pc:spChg chg="del">
          <ac:chgData name="Josephine Steppat" userId="ad9ceb25-8da7-411f-bf87-5981331f6d79" providerId="ADAL" clId="{38664E0A-DE64-40D1-A523-8FEAAA8AB216}" dt="2024-10-11T14:18:25.095" v="85" actId="478"/>
          <ac:spMkLst>
            <pc:docMk/>
            <pc:sldMk cId="535711005" sldId="306"/>
            <ac:spMk id="9" creationId="{00000000-0000-0000-0000-000000000000}"/>
          </ac:spMkLst>
        </pc:spChg>
        <pc:picChg chg="add del">
          <ac:chgData name="Josephine Steppat" userId="ad9ceb25-8da7-411f-bf87-5981331f6d79" providerId="ADAL" clId="{38664E0A-DE64-40D1-A523-8FEAAA8AB216}" dt="2024-10-11T14:18:21.553" v="84" actId="478"/>
          <ac:picMkLst>
            <pc:docMk/>
            <pc:sldMk cId="535711005" sldId="306"/>
            <ac:picMk id="10" creationId="{00000000-0000-0000-0000-000000000000}"/>
          </ac:picMkLst>
        </pc:picChg>
      </pc:sldChg>
      <pc:sldChg chg="add">
        <pc:chgData name="Josephine Steppat" userId="ad9ceb25-8da7-411f-bf87-5981331f6d79" providerId="ADAL" clId="{38664E0A-DE64-40D1-A523-8FEAAA8AB216}" dt="2024-10-11T14:43:14.053" v="151"/>
        <pc:sldMkLst>
          <pc:docMk/>
          <pc:sldMk cId="3074330525" sldId="363"/>
        </pc:sldMkLst>
      </pc:sldChg>
      <pc:sldChg chg="delSp modSp add mod setBg">
        <pc:chgData name="Josephine Steppat" userId="ad9ceb25-8da7-411f-bf87-5981331f6d79" providerId="ADAL" clId="{38664E0A-DE64-40D1-A523-8FEAAA8AB216}" dt="2024-10-11T14:19:07.612" v="87" actId="1076"/>
        <pc:sldMkLst>
          <pc:docMk/>
          <pc:sldMk cId="988649156" sldId="398"/>
        </pc:sldMkLst>
        <pc:spChg chg="del">
          <ac:chgData name="Josephine Steppat" userId="ad9ceb25-8da7-411f-bf87-5981331f6d79" providerId="ADAL" clId="{38664E0A-DE64-40D1-A523-8FEAAA8AB216}" dt="2024-10-11T14:01:39.915" v="65"/>
          <ac:spMkLst>
            <pc:docMk/>
            <pc:sldMk cId="988649156" sldId="398"/>
            <ac:spMk id="3" creationId="{00000000-0000-0000-0000-000000000000}"/>
          </ac:spMkLst>
        </pc:spChg>
        <pc:spChg chg="del">
          <ac:chgData name="Josephine Steppat" userId="ad9ceb25-8da7-411f-bf87-5981331f6d79" providerId="ADAL" clId="{38664E0A-DE64-40D1-A523-8FEAAA8AB216}" dt="2024-10-11T14:01:39.899" v="64"/>
          <ac:spMkLst>
            <pc:docMk/>
            <pc:sldMk cId="988649156" sldId="398"/>
            <ac:spMk id="6" creationId="{00000000-0000-0000-0000-000000000000}"/>
          </ac:spMkLst>
        </pc:spChg>
        <pc:graphicFrameChg chg="mod">
          <ac:chgData name="Josephine Steppat" userId="ad9ceb25-8da7-411f-bf87-5981331f6d79" providerId="ADAL" clId="{38664E0A-DE64-40D1-A523-8FEAAA8AB216}" dt="2024-10-11T14:19:07.612" v="87" actId="1076"/>
          <ac:graphicFrameMkLst>
            <pc:docMk/>
            <pc:sldMk cId="988649156" sldId="398"/>
            <ac:graphicFrameMk id="7" creationId="{00000000-0000-0000-0000-000000000000}"/>
          </ac:graphicFrameMkLst>
        </pc:graphicFrameChg>
      </pc:sldChg>
      <pc:sldChg chg="add ord setBg">
        <pc:chgData name="Josephine Steppat" userId="ad9ceb25-8da7-411f-bf87-5981331f6d79" providerId="ADAL" clId="{38664E0A-DE64-40D1-A523-8FEAAA8AB216}" dt="2024-10-11T14:20:30.005" v="110"/>
        <pc:sldMkLst>
          <pc:docMk/>
          <pc:sldMk cId="2015555903" sldId="399"/>
        </pc:sldMkLst>
      </pc:sldChg>
      <pc:sldChg chg="add setBg">
        <pc:chgData name="Josephine Steppat" userId="ad9ceb25-8da7-411f-bf87-5981331f6d79" providerId="ADAL" clId="{38664E0A-DE64-40D1-A523-8FEAAA8AB216}" dt="2024-10-11T14:18:04.585" v="81"/>
        <pc:sldMkLst>
          <pc:docMk/>
          <pc:sldMk cId="3282109485" sldId="606"/>
        </pc:sldMkLst>
      </pc:sldChg>
      <pc:sldChg chg="modSp new mod">
        <pc:chgData name="Josephine Steppat" userId="ad9ceb25-8da7-411f-bf87-5981331f6d79" providerId="ADAL" clId="{38664E0A-DE64-40D1-A523-8FEAAA8AB216}" dt="2024-10-11T14:20:21.742" v="108" actId="20577"/>
        <pc:sldMkLst>
          <pc:docMk/>
          <pc:sldMk cId="4102898096" sldId="607"/>
        </pc:sldMkLst>
        <pc:spChg chg="mod">
          <ac:chgData name="Josephine Steppat" userId="ad9ceb25-8da7-411f-bf87-5981331f6d79" providerId="ADAL" clId="{38664E0A-DE64-40D1-A523-8FEAAA8AB216}" dt="2024-10-11T14:20:21.742" v="108" actId="20577"/>
          <ac:spMkLst>
            <pc:docMk/>
            <pc:sldMk cId="4102898096" sldId="607"/>
            <ac:spMk id="2" creationId="{010C107B-E213-2A7D-EEFB-E679086424CC}"/>
          </ac:spMkLst>
        </pc:spChg>
      </pc:sldChg>
      <pc:sldChg chg="new del">
        <pc:chgData name="Josephine Steppat" userId="ad9ceb25-8da7-411f-bf87-5981331f6d79" providerId="ADAL" clId="{38664E0A-DE64-40D1-A523-8FEAAA8AB216}" dt="2024-10-11T14:23:06.166" v="146" actId="47"/>
        <pc:sldMkLst>
          <pc:docMk/>
          <pc:sldMk cId="862085853" sldId="608"/>
        </pc:sldMkLst>
      </pc:sldChg>
      <pc:sldChg chg="add">
        <pc:chgData name="Josephine Steppat" userId="ad9ceb25-8da7-411f-bf87-5981331f6d79" providerId="ADAL" clId="{38664E0A-DE64-40D1-A523-8FEAAA8AB216}" dt="2024-10-11T14:42:33.680" v="149"/>
        <pc:sldMkLst>
          <pc:docMk/>
          <pc:sldMk cId="1427027924" sldId="824"/>
        </pc:sldMkLst>
      </pc:sldChg>
      <pc:sldChg chg="add">
        <pc:chgData name="Josephine Steppat" userId="ad9ceb25-8da7-411f-bf87-5981331f6d79" providerId="ADAL" clId="{38664E0A-DE64-40D1-A523-8FEAAA8AB216}" dt="2024-10-11T14:43:39.136" v="152"/>
        <pc:sldMkLst>
          <pc:docMk/>
          <pc:sldMk cId="72255503" sldId="825"/>
        </pc:sldMkLst>
      </pc:sldChg>
      <pc:sldChg chg="add">
        <pc:chgData name="Josephine Steppat" userId="ad9ceb25-8da7-411f-bf87-5981331f6d79" providerId="ADAL" clId="{38664E0A-DE64-40D1-A523-8FEAAA8AB216}" dt="2024-10-11T14:43:39.136" v="152"/>
        <pc:sldMkLst>
          <pc:docMk/>
          <pc:sldMk cId="1685690064" sldId="826"/>
        </pc:sldMkLst>
      </pc:sldChg>
    </pc:docChg>
  </pc:docChgLst>
  <pc:docChgLst>
    <pc:chgData name="Josephine Steppat" userId="S::josephine.steppat@montel.energy::ad9ceb25-8da7-411f-bf87-5981331f6d79" providerId="AD" clId="Web-{ACC94C73-762C-8FD9-CF0C-A1F6DB5F4ED9}"/>
    <pc:docChg chg="modSld">
      <pc:chgData name="Josephine Steppat" userId="S::josephine.steppat@montel.energy::ad9ceb25-8da7-411f-bf87-5981331f6d79" providerId="AD" clId="Web-{ACC94C73-762C-8FD9-CF0C-A1F6DB5F4ED9}" dt="2025-02-09T13:57:59.912" v="2" actId="20577"/>
      <pc:docMkLst>
        <pc:docMk/>
      </pc:docMkLst>
      <pc:sldChg chg="modSp">
        <pc:chgData name="Josephine Steppat" userId="S::josephine.steppat@montel.energy::ad9ceb25-8da7-411f-bf87-5981331f6d79" providerId="AD" clId="Web-{ACC94C73-762C-8FD9-CF0C-A1F6DB5F4ED9}" dt="2025-02-09T13:57:59.912" v="2" actId="20577"/>
        <pc:sldMkLst>
          <pc:docMk/>
          <pc:sldMk cId="1787178742" sldId="835"/>
        </pc:sldMkLst>
        <pc:spChg chg="mod">
          <ac:chgData name="Josephine Steppat" userId="S::josephine.steppat@montel.energy::ad9ceb25-8da7-411f-bf87-5981331f6d79" providerId="AD" clId="Web-{ACC94C73-762C-8FD9-CF0C-A1F6DB5F4ED9}" dt="2025-02-09T13:57:59.912" v="2" actId="20577"/>
          <ac:spMkLst>
            <pc:docMk/>
            <pc:sldMk cId="1787178742" sldId="835"/>
            <ac:spMk id="19" creationId="{9F0EFE69-F64C-79DA-AF2B-17D0CC37F8B0}"/>
          </ac:spMkLst>
        </pc:spChg>
      </pc:sldChg>
    </pc:docChg>
  </pc:docChgLst>
  <pc:docChgLst>
    <pc:chgData name="Josephine Steppat" userId="ad9ceb25-8da7-411f-bf87-5981331f6d79" providerId="ADAL" clId="{02001320-137C-4484-A223-FE868F9AB1D1}"/>
    <pc:docChg chg="undo redo custSel addSld delSld modSld sldOrd delSection modSection">
      <pc:chgData name="Josephine Steppat" userId="ad9ceb25-8da7-411f-bf87-5981331f6d79" providerId="ADAL" clId="{02001320-137C-4484-A223-FE868F9AB1D1}" dt="2025-02-07T12:11:10.350" v="13462" actId="2711"/>
      <pc:docMkLst>
        <pc:docMk/>
      </pc:docMkLst>
      <pc:sldChg chg="modSp mod">
        <pc:chgData name="Josephine Steppat" userId="ad9ceb25-8da7-411f-bf87-5981331f6d79" providerId="ADAL" clId="{02001320-137C-4484-A223-FE868F9AB1D1}" dt="2025-02-07T12:06:53.422" v="13376" actId="1076"/>
        <pc:sldMkLst>
          <pc:docMk/>
          <pc:sldMk cId="2604930823" sldId="256"/>
        </pc:sldMkLst>
        <pc:spChg chg="mod">
          <ac:chgData name="Josephine Steppat" userId="ad9ceb25-8da7-411f-bf87-5981331f6d79" providerId="ADAL" clId="{02001320-137C-4484-A223-FE868F9AB1D1}" dt="2025-02-07T12:06:53.422" v="13376" actId="1076"/>
          <ac:spMkLst>
            <pc:docMk/>
            <pc:sldMk cId="2604930823" sldId="256"/>
            <ac:spMk id="2" creationId="{4A0FF72D-4CB4-6FB6-7B89-DDBA411A5A49}"/>
          </ac:spMkLst>
        </pc:spChg>
        <pc:spChg chg="mod">
          <ac:chgData name="Josephine Steppat" userId="ad9ceb25-8da7-411f-bf87-5981331f6d79" providerId="ADAL" clId="{02001320-137C-4484-A223-FE868F9AB1D1}" dt="2025-01-21T14:01:05.286" v="0"/>
          <ac:spMkLst>
            <pc:docMk/>
            <pc:sldMk cId="2604930823" sldId="256"/>
            <ac:spMk id="3" creationId="{BD7738DD-2B1E-238B-8EF1-7B5515B199B7}"/>
          </ac:spMkLst>
        </pc:spChg>
        <pc:spChg chg="mod">
          <ac:chgData name="Josephine Steppat" userId="ad9ceb25-8da7-411f-bf87-5981331f6d79" providerId="ADAL" clId="{02001320-137C-4484-A223-FE868F9AB1D1}" dt="2025-01-21T14:02:14.309" v="60" actId="20577"/>
          <ac:spMkLst>
            <pc:docMk/>
            <pc:sldMk cId="2604930823" sldId="256"/>
            <ac:spMk id="4" creationId="{430E1C50-202D-58C2-4A26-FD14FD87DF12}"/>
          </ac:spMkLst>
        </pc:spChg>
      </pc:sldChg>
      <pc:sldChg chg="addSp delSp modSp add del mod ord modShow modNotesTx">
        <pc:chgData name="Josephine Steppat" userId="ad9ceb25-8da7-411f-bf87-5981331f6d79" providerId="ADAL" clId="{02001320-137C-4484-A223-FE868F9AB1D1}" dt="2025-02-07T12:10:54.998" v="13460" actId="2711"/>
        <pc:sldMkLst>
          <pc:docMk/>
          <pc:sldMk cId="3480348253" sldId="259"/>
        </pc:sldMkLst>
        <pc:spChg chg="mod">
          <ac:chgData name="Josephine Steppat" userId="ad9ceb25-8da7-411f-bf87-5981331f6d79" providerId="ADAL" clId="{02001320-137C-4484-A223-FE868F9AB1D1}" dt="2025-02-07T12:10:54.998" v="13460" actId="2711"/>
          <ac:spMkLst>
            <pc:docMk/>
            <pc:sldMk cId="3480348253" sldId="259"/>
            <ac:spMk id="2" creationId="{B8E63508-1037-9C55-8F7B-2AA4DB641549}"/>
          </ac:spMkLst>
        </pc:spChg>
        <pc:spChg chg="mod">
          <ac:chgData name="Josephine Steppat" userId="ad9ceb25-8da7-411f-bf87-5981331f6d79" providerId="ADAL" clId="{02001320-137C-4484-A223-FE868F9AB1D1}" dt="2025-02-07T12:10:34.172" v="13454" actId="20577"/>
          <ac:spMkLst>
            <pc:docMk/>
            <pc:sldMk cId="3480348253" sldId="259"/>
            <ac:spMk id="3" creationId="{E9072FB9-7282-00C6-A40F-3C69DB2DFD40}"/>
          </ac:spMkLst>
        </pc:spChg>
        <pc:spChg chg="mod">
          <ac:chgData name="Josephine Steppat" userId="ad9ceb25-8da7-411f-bf87-5981331f6d79" providerId="ADAL" clId="{02001320-137C-4484-A223-FE868F9AB1D1}" dt="2025-02-07T12:06:14.435" v="13375" actId="20577"/>
          <ac:spMkLst>
            <pc:docMk/>
            <pc:sldMk cId="3480348253" sldId="259"/>
            <ac:spMk id="10" creationId="{31FC11CB-C468-04EE-400F-BDC2C700C101}"/>
          </ac:spMkLst>
        </pc:spChg>
        <pc:graphicFrameChg chg="add del mod">
          <ac:chgData name="Josephine Steppat" userId="ad9ceb25-8da7-411f-bf87-5981331f6d79" providerId="ADAL" clId="{02001320-137C-4484-A223-FE868F9AB1D1}" dt="2025-02-05T17:23:15.999" v="13023" actId="1076"/>
          <ac:graphicFrameMkLst>
            <pc:docMk/>
            <pc:sldMk cId="3480348253" sldId="259"/>
            <ac:graphicFrameMk id="6" creationId="{04E8410F-F306-B04A-761E-DB74BD5D434E}"/>
          </ac:graphicFrameMkLst>
        </pc:graphicFrameChg>
        <pc:graphicFrameChg chg="del">
          <ac:chgData name="Josephine Steppat" userId="ad9ceb25-8da7-411f-bf87-5981331f6d79" providerId="ADAL" clId="{02001320-137C-4484-A223-FE868F9AB1D1}" dt="2025-02-05T17:04:30.333" v="12829" actId="478"/>
          <ac:graphicFrameMkLst>
            <pc:docMk/>
            <pc:sldMk cId="3480348253" sldId="259"/>
            <ac:graphicFrameMk id="9" creationId="{FDBC6BF9-88DB-4331-B4A5-CDB974C62562}"/>
          </ac:graphicFrameMkLst>
        </pc:graphicFrameChg>
        <pc:graphicFrameChg chg="add mod">
          <ac:chgData name="Josephine Steppat" userId="ad9ceb25-8da7-411f-bf87-5981331f6d79" providerId="ADAL" clId="{02001320-137C-4484-A223-FE868F9AB1D1}" dt="2025-02-06T08:24:27.243" v="13241" actId="20577"/>
          <ac:graphicFrameMkLst>
            <pc:docMk/>
            <pc:sldMk cId="3480348253" sldId="259"/>
            <ac:graphicFrameMk id="11" creationId="{57F61627-8EAE-98E7-5E4D-69CABE2FF564}"/>
          </ac:graphicFrameMkLst>
        </pc:graphicFrameChg>
      </pc:sldChg>
      <pc:sldChg chg="addSp delSp modSp mod ord delAnim modAnim modShow modNotesTx">
        <pc:chgData name="Josephine Steppat" userId="ad9ceb25-8da7-411f-bf87-5981331f6d79" providerId="ADAL" clId="{02001320-137C-4484-A223-FE868F9AB1D1}" dt="2025-02-07T12:09:46.269" v="13437" actId="1076"/>
        <pc:sldMkLst>
          <pc:docMk/>
          <pc:sldMk cId="920877821" sldId="264"/>
        </pc:sldMkLst>
        <pc:spChg chg="mod">
          <ac:chgData name="Josephine Steppat" userId="ad9ceb25-8da7-411f-bf87-5981331f6d79" providerId="ADAL" clId="{02001320-137C-4484-A223-FE868F9AB1D1}" dt="2025-02-07T12:09:46.269" v="13437" actId="1076"/>
          <ac:spMkLst>
            <pc:docMk/>
            <pc:sldMk cId="920877821" sldId="264"/>
            <ac:spMk id="2" creationId="{187CAD8B-0A65-1D0B-3094-3F7666F18C6A}"/>
          </ac:spMkLst>
        </pc:spChg>
        <pc:spChg chg="mod">
          <ac:chgData name="Josephine Steppat" userId="ad9ceb25-8da7-411f-bf87-5981331f6d79" providerId="ADAL" clId="{02001320-137C-4484-A223-FE868F9AB1D1}" dt="2025-01-22T15:07:12.978" v="288" actId="20577"/>
          <ac:spMkLst>
            <pc:docMk/>
            <pc:sldMk cId="920877821" sldId="264"/>
            <ac:spMk id="4" creationId="{90DA8C0A-3DF5-B29C-2D1C-E4B77AB65F89}"/>
          </ac:spMkLst>
        </pc:spChg>
        <pc:spChg chg="add del mod">
          <ac:chgData name="Josephine Steppat" userId="ad9ceb25-8da7-411f-bf87-5981331f6d79" providerId="ADAL" clId="{02001320-137C-4484-A223-FE868F9AB1D1}" dt="2025-01-22T15:08:55.517" v="291" actId="22"/>
          <ac:spMkLst>
            <pc:docMk/>
            <pc:sldMk cId="920877821" sldId="264"/>
            <ac:spMk id="5" creationId="{D813A268-0A03-1FA7-0314-79029FBA561B}"/>
          </ac:spMkLst>
        </pc:spChg>
        <pc:spChg chg="mod">
          <ac:chgData name="Josephine Steppat" userId="ad9ceb25-8da7-411f-bf87-5981331f6d79" providerId="ADAL" clId="{02001320-137C-4484-A223-FE868F9AB1D1}" dt="2025-02-07T12:07:13.769" v="13393" actId="20577"/>
          <ac:spMkLst>
            <pc:docMk/>
            <pc:sldMk cId="920877821" sldId="264"/>
            <ac:spMk id="6" creationId="{37674F3C-D14D-70CC-67CF-92542A26EABC}"/>
          </ac:spMkLst>
        </pc:spChg>
        <pc:picChg chg="add mod ord">
          <ac:chgData name="Josephine Steppat" userId="ad9ceb25-8da7-411f-bf87-5981331f6d79" providerId="ADAL" clId="{02001320-137C-4484-A223-FE868F9AB1D1}" dt="2025-01-22T15:08:55.517" v="291" actId="22"/>
          <ac:picMkLst>
            <pc:docMk/>
            <pc:sldMk cId="920877821" sldId="264"/>
            <ac:picMk id="8" creationId="{791DEF7D-D301-A03E-4D4C-1399E35DD931}"/>
          </ac:picMkLst>
        </pc:picChg>
        <pc:picChg chg="del">
          <ac:chgData name="Josephine Steppat" userId="ad9ceb25-8da7-411f-bf87-5981331f6d79" providerId="ADAL" clId="{02001320-137C-4484-A223-FE868F9AB1D1}" dt="2025-01-22T15:07:35.417" v="290" actId="478"/>
          <ac:picMkLst>
            <pc:docMk/>
            <pc:sldMk cId="920877821" sldId="264"/>
            <ac:picMk id="22" creationId="{E78793BB-BC46-F136-5621-D3F5C9E27EA5}"/>
          </ac:picMkLst>
        </pc:picChg>
      </pc:sldChg>
      <pc:sldChg chg="addSp delSp modSp mod modClrScheme chgLayout modNotesTx">
        <pc:chgData name="Josephine Steppat" userId="ad9ceb25-8da7-411f-bf87-5981331f6d79" providerId="ADAL" clId="{02001320-137C-4484-A223-FE868F9AB1D1}" dt="2025-02-07T12:09:51.700" v="13438" actId="1076"/>
        <pc:sldMkLst>
          <pc:docMk/>
          <pc:sldMk cId="535711005" sldId="306"/>
        </pc:sldMkLst>
        <pc:spChg chg="mod ord">
          <ac:chgData name="Josephine Steppat" userId="ad9ceb25-8da7-411f-bf87-5981331f6d79" providerId="ADAL" clId="{02001320-137C-4484-A223-FE868F9AB1D1}" dt="2025-02-07T12:09:51.700" v="13438" actId="1076"/>
          <ac:spMkLst>
            <pc:docMk/>
            <pc:sldMk cId="535711005" sldId="306"/>
            <ac:spMk id="2" creationId="{00000000-0000-0000-0000-000000000000}"/>
          </ac:spMkLst>
        </pc:spChg>
        <pc:spChg chg="mod ord">
          <ac:chgData name="Josephine Steppat" userId="ad9ceb25-8da7-411f-bf87-5981331f6d79" providerId="ADAL" clId="{02001320-137C-4484-A223-FE868F9AB1D1}" dt="2025-02-05T17:28:21.302" v="13096" actId="700"/>
          <ac:spMkLst>
            <pc:docMk/>
            <pc:sldMk cId="535711005" sldId="306"/>
            <ac:spMk id="3" creationId="{00000000-0000-0000-0000-000000000000}"/>
          </ac:spMkLst>
        </pc:spChg>
        <pc:spChg chg="add del mod">
          <ac:chgData name="Josephine Steppat" userId="ad9ceb25-8da7-411f-bf87-5981331f6d79" providerId="ADAL" clId="{02001320-137C-4484-A223-FE868F9AB1D1}" dt="2025-01-22T14:15:58.438" v="188" actId="478"/>
          <ac:spMkLst>
            <pc:docMk/>
            <pc:sldMk cId="535711005" sldId="306"/>
            <ac:spMk id="4" creationId="{C68D4014-FA40-707B-D678-93F0D37CFDA8}"/>
          </ac:spMkLst>
        </pc:spChg>
        <pc:spChg chg="add mod ord">
          <ac:chgData name="Josephine Steppat" userId="ad9ceb25-8da7-411f-bf87-5981331f6d79" providerId="ADAL" clId="{02001320-137C-4484-A223-FE868F9AB1D1}" dt="2025-02-07T12:07:07.516" v="13391" actId="20577"/>
          <ac:spMkLst>
            <pc:docMk/>
            <pc:sldMk cId="535711005" sldId="306"/>
            <ac:spMk id="4" creationId="{DBCD45CD-E9CF-060D-97F3-2047C5CA6313}"/>
          </ac:spMkLst>
        </pc:spChg>
        <pc:spChg chg="mod ord">
          <ac:chgData name="Josephine Steppat" userId="ad9ceb25-8da7-411f-bf87-5981331f6d79" providerId="ADAL" clId="{02001320-137C-4484-A223-FE868F9AB1D1}" dt="2025-02-05T17:32:02.582" v="13207" actId="255"/>
          <ac:spMkLst>
            <pc:docMk/>
            <pc:sldMk cId="535711005" sldId="306"/>
            <ac:spMk id="5" creationId="{00000000-0000-0000-0000-000000000000}"/>
          </ac:spMkLst>
        </pc:spChg>
        <pc:spChg chg="add del mod">
          <ac:chgData name="Josephine Steppat" userId="ad9ceb25-8da7-411f-bf87-5981331f6d79" providerId="ADAL" clId="{02001320-137C-4484-A223-FE868F9AB1D1}" dt="2025-01-31T13:59:35.058" v="2635" actId="478"/>
          <ac:spMkLst>
            <pc:docMk/>
            <pc:sldMk cId="535711005" sldId="306"/>
            <ac:spMk id="7" creationId="{2E4B2FDA-B793-85AE-BEF2-A0531381E5C7}"/>
          </ac:spMkLst>
        </pc:spChg>
        <pc:spChg chg="add del mod ord">
          <ac:chgData name="Josephine Steppat" userId="ad9ceb25-8da7-411f-bf87-5981331f6d79" providerId="ADAL" clId="{02001320-137C-4484-A223-FE868F9AB1D1}" dt="2025-02-05T17:28:26.694" v="13098"/>
          <ac:spMkLst>
            <pc:docMk/>
            <pc:sldMk cId="535711005" sldId="306"/>
            <ac:spMk id="7" creationId="{537994F6-9E7B-BC99-6E01-114BE12EE125}"/>
          </ac:spMkLst>
        </pc:spChg>
        <pc:picChg chg="add del mod">
          <ac:chgData name="Josephine Steppat" userId="ad9ceb25-8da7-411f-bf87-5981331f6d79" providerId="ADAL" clId="{02001320-137C-4484-A223-FE868F9AB1D1}" dt="2025-02-05T17:28:25.418" v="13097" actId="478"/>
          <ac:picMkLst>
            <pc:docMk/>
            <pc:sldMk cId="535711005" sldId="306"/>
            <ac:picMk id="6" creationId="{8057A091-6CB5-C85F-7DD7-C70744EEA7A2}"/>
          </ac:picMkLst>
        </pc:picChg>
        <pc:picChg chg="add mod">
          <ac:chgData name="Josephine Steppat" userId="ad9ceb25-8da7-411f-bf87-5981331f6d79" providerId="ADAL" clId="{02001320-137C-4484-A223-FE868F9AB1D1}" dt="2025-02-05T17:29:04.547" v="13111" actId="14100"/>
          <ac:picMkLst>
            <pc:docMk/>
            <pc:sldMk cId="535711005" sldId="306"/>
            <ac:picMk id="8" creationId="{88A3B643-AD95-23D9-0178-5B7AA42790C4}"/>
          </ac:picMkLst>
        </pc:picChg>
        <pc:picChg chg="del mod ord">
          <ac:chgData name="Josephine Steppat" userId="ad9ceb25-8da7-411f-bf87-5981331f6d79" providerId="ADAL" clId="{02001320-137C-4484-A223-FE868F9AB1D1}" dt="2025-01-22T14:20:36.514" v="196" actId="478"/>
          <ac:picMkLst>
            <pc:docMk/>
            <pc:sldMk cId="535711005" sldId="306"/>
            <ac:picMk id="10" creationId="{00000000-0000-0000-0000-000000000000}"/>
          </ac:picMkLst>
        </pc:picChg>
      </pc:sldChg>
      <pc:sldChg chg="del">
        <pc:chgData name="Josephine Steppat" userId="ad9ceb25-8da7-411f-bf87-5981331f6d79" providerId="ADAL" clId="{02001320-137C-4484-A223-FE868F9AB1D1}" dt="2025-01-31T13:42:25.442" v="2359" actId="47"/>
        <pc:sldMkLst>
          <pc:docMk/>
          <pc:sldMk cId="3074330525" sldId="363"/>
        </pc:sldMkLst>
      </pc:sldChg>
      <pc:sldChg chg="addSp modSp add del mod modShow">
        <pc:chgData name="Josephine Steppat" userId="ad9ceb25-8da7-411f-bf87-5981331f6d79" providerId="ADAL" clId="{02001320-137C-4484-A223-FE868F9AB1D1}" dt="2025-01-25T15:39:03.601" v="938" actId="47"/>
        <pc:sldMkLst>
          <pc:docMk/>
          <pc:sldMk cId="3669578345" sldId="599"/>
        </pc:sldMkLst>
        <pc:spChg chg="add mod">
          <ac:chgData name="Josephine Steppat" userId="ad9ceb25-8da7-411f-bf87-5981331f6d79" providerId="ADAL" clId="{02001320-137C-4484-A223-FE868F9AB1D1}" dt="2025-01-25T13:42:05.632" v="403"/>
          <ac:spMkLst>
            <pc:docMk/>
            <pc:sldMk cId="3669578345" sldId="599"/>
            <ac:spMk id="8" creationId="{13F7E66D-02D1-7B26-5DE4-FF61435C9105}"/>
          </ac:spMkLst>
        </pc:spChg>
        <pc:spChg chg="add mod">
          <ac:chgData name="Josephine Steppat" userId="ad9ceb25-8da7-411f-bf87-5981331f6d79" providerId="ADAL" clId="{02001320-137C-4484-A223-FE868F9AB1D1}" dt="2025-01-25T13:42:05.632" v="403"/>
          <ac:spMkLst>
            <pc:docMk/>
            <pc:sldMk cId="3669578345" sldId="599"/>
            <ac:spMk id="13" creationId="{8EF0FDA9-189C-E56A-3C32-A8F1D5509290}"/>
          </ac:spMkLst>
        </pc:spChg>
        <pc:spChg chg="add mod">
          <ac:chgData name="Josephine Steppat" userId="ad9ceb25-8da7-411f-bf87-5981331f6d79" providerId="ADAL" clId="{02001320-137C-4484-A223-FE868F9AB1D1}" dt="2025-01-25T13:42:12.550" v="407"/>
          <ac:spMkLst>
            <pc:docMk/>
            <pc:sldMk cId="3669578345" sldId="599"/>
            <ac:spMk id="14" creationId="{35ACACCF-1774-BBB9-C634-AC85BFD12484}"/>
          </ac:spMkLst>
        </pc:spChg>
        <pc:spChg chg="add mod">
          <ac:chgData name="Josephine Steppat" userId="ad9ceb25-8da7-411f-bf87-5981331f6d79" providerId="ADAL" clId="{02001320-137C-4484-A223-FE868F9AB1D1}" dt="2025-01-25T13:42:12.550" v="407"/>
          <ac:spMkLst>
            <pc:docMk/>
            <pc:sldMk cId="3669578345" sldId="599"/>
            <ac:spMk id="15" creationId="{155371F1-1BCD-BA4D-8C22-CFBB94F4094B}"/>
          </ac:spMkLst>
        </pc:spChg>
        <pc:picChg chg="add mod">
          <ac:chgData name="Josephine Steppat" userId="ad9ceb25-8da7-411f-bf87-5981331f6d79" providerId="ADAL" clId="{02001320-137C-4484-A223-FE868F9AB1D1}" dt="2025-01-25T13:42:17.082" v="409" actId="1076"/>
          <ac:picMkLst>
            <pc:docMk/>
            <pc:sldMk cId="3669578345" sldId="599"/>
            <ac:picMk id="16" creationId="{C26698BD-515B-DFA6-8FE4-3F8913EAC078}"/>
          </ac:picMkLst>
        </pc:picChg>
      </pc:sldChg>
      <pc:sldChg chg="addSp delSp modSp add mod ord modClrScheme chgLayout modNotesTx">
        <pc:chgData name="Josephine Steppat" userId="ad9ceb25-8da7-411f-bf87-5981331f6d79" providerId="ADAL" clId="{02001320-137C-4484-A223-FE868F9AB1D1}" dt="2025-02-07T12:09:26.505" v="13434" actId="1076"/>
        <pc:sldMkLst>
          <pc:docMk/>
          <pc:sldMk cId="2555988378" sldId="697"/>
        </pc:sldMkLst>
        <pc:spChg chg="mod ord">
          <ac:chgData name="Josephine Steppat" userId="ad9ceb25-8da7-411f-bf87-5981331f6d79" providerId="ADAL" clId="{02001320-137C-4484-A223-FE868F9AB1D1}" dt="2025-02-05T17:30:30.917" v="13150" actId="1076"/>
          <ac:spMkLst>
            <pc:docMk/>
            <pc:sldMk cId="2555988378" sldId="697"/>
            <ac:spMk id="2" creationId="{00000000-0000-0000-0000-000000000000}"/>
          </ac:spMkLst>
        </pc:spChg>
        <pc:spChg chg="del mod ord">
          <ac:chgData name="Josephine Steppat" userId="ad9ceb25-8da7-411f-bf87-5981331f6d79" providerId="ADAL" clId="{02001320-137C-4484-A223-FE868F9AB1D1}" dt="2025-02-07T11:59:46.044" v="13265" actId="478"/>
          <ac:spMkLst>
            <pc:docMk/>
            <pc:sldMk cId="2555988378" sldId="697"/>
            <ac:spMk id="3" creationId="{00000000-0000-0000-0000-000000000000}"/>
          </ac:spMkLst>
        </pc:spChg>
        <pc:spChg chg="del mod ord">
          <ac:chgData name="Josephine Steppat" userId="ad9ceb25-8da7-411f-bf87-5981331f6d79" providerId="ADAL" clId="{02001320-137C-4484-A223-FE868F9AB1D1}" dt="2025-02-05T17:30:56.588" v="13181" actId="478"/>
          <ac:spMkLst>
            <pc:docMk/>
            <pc:sldMk cId="2555988378" sldId="697"/>
            <ac:spMk id="4" creationId="{B0455A1F-E740-A462-02EC-A902B6B5D009}"/>
          </ac:spMkLst>
        </pc:spChg>
        <pc:spChg chg="mod ord">
          <ac:chgData name="Josephine Steppat" userId="ad9ceb25-8da7-411f-bf87-5981331f6d79" providerId="ADAL" clId="{02001320-137C-4484-A223-FE868F9AB1D1}" dt="2025-02-07T12:09:26.505" v="13434" actId="1076"/>
          <ac:spMkLst>
            <pc:docMk/>
            <pc:sldMk cId="2555988378" sldId="697"/>
            <ac:spMk id="5" creationId="{00000000-0000-0000-0000-000000000000}"/>
          </ac:spMkLst>
        </pc:spChg>
        <pc:spChg chg="mod ord">
          <ac:chgData name="Josephine Steppat" userId="ad9ceb25-8da7-411f-bf87-5981331f6d79" providerId="ADAL" clId="{02001320-137C-4484-A223-FE868F9AB1D1}" dt="2025-02-05T17:29:35.292" v="13124" actId="700"/>
          <ac:spMkLst>
            <pc:docMk/>
            <pc:sldMk cId="2555988378" sldId="697"/>
            <ac:spMk id="6" creationId="{29968520-D199-1E29-5395-F839A14C586B}"/>
          </ac:spMkLst>
        </pc:spChg>
        <pc:spChg chg="add mod ord">
          <ac:chgData name="Josephine Steppat" userId="ad9ceb25-8da7-411f-bf87-5981331f6d79" providerId="ADAL" clId="{02001320-137C-4484-A223-FE868F9AB1D1}" dt="2025-02-07T12:07:17.154" v="13395" actId="20577"/>
          <ac:spMkLst>
            <pc:docMk/>
            <pc:sldMk cId="2555988378" sldId="697"/>
            <ac:spMk id="7" creationId="{64FB6F80-9C39-E3E3-4007-5208BB00C493}"/>
          </ac:spMkLst>
        </pc:spChg>
        <pc:spChg chg="add del mod">
          <ac:chgData name="Josephine Steppat" userId="ad9ceb25-8da7-411f-bf87-5981331f6d79" providerId="ADAL" clId="{02001320-137C-4484-A223-FE868F9AB1D1}" dt="2025-01-31T12:55:11.242" v="1288" actId="478"/>
          <ac:spMkLst>
            <pc:docMk/>
            <pc:sldMk cId="2555988378" sldId="697"/>
            <ac:spMk id="7" creationId="{BB2B979D-8CC2-4495-05DB-935540F7E901}"/>
          </ac:spMkLst>
        </pc:spChg>
        <pc:spChg chg="add del mod">
          <ac:chgData name="Josephine Steppat" userId="ad9ceb25-8da7-411f-bf87-5981331f6d79" providerId="ADAL" clId="{02001320-137C-4484-A223-FE868F9AB1D1}" dt="2025-01-25T13:47:00.377" v="438" actId="478"/>
          <ac:spMkLst>
            <pc:docMk/>
            <pc:sldMk cId="2555988378" sldId="697"/>
            <ac:spMk id="7" creationId="{EE764DD0-86FF-077C-F921-320952E98BF8}"/>
          </ac:spMkLst>
        </pc:spChg>
        <pc:spChg chg="add mod">
          <ac:chgData name="Josephine Steppat" userId="ad9ceb25-8da7-411f-bf87-5981331f6d79" providerId="ADAL" clId="{02001320-137C-4484-A223-FE868F9AB1D1}" dt="2025-02-05T17:31:40.847" v="13202" actId="1038"/>
          <ac:spMkLst>
            <pc:docMk/>
            <pc:sldMk cId="2555988378" sldId="697"/>
            <ac:spMk id="9" creationId="{A0E7BFD1-5D2E-39A5-DC68-16AE78664E17}"/>
          </ac:spMkLst>
        </pc:spChg>
        <pc:spChg chg="add mod">
          <ac:chgData name="Josephine Steppat" userId="ad9ceb25-8da7-411f-bf87-5981331f6d79" providerId="ADAL" clId="{02001320-137C-4484-A223-FE868F9AB1D1}" dt="2025-02-05T17:31:49.784" v="13206" actId="14100"/>
          <ac:spMkLst>
            <pc:docMk/>
            <pc:sldMk cId="2555988378" sldId="697"/>
            <ac:spMk id="10" creationId="{EEB10BA5-446B-5BF6-095B-56D5F8E3796B}"/>
          </ac:spMkLst>
        </pc:spChg>
        <pc:spChg chg="add mod">
          <ac:chgData name="Josephine Steppat" userId="ad9ceb25-8da7-411f-bf87-5981331f6d79" providerId="ADAL" clId="{02001320-137C-4484-A223-FE868F9AB1D1}" dt="2025-02-05T17:31:18.917" v="13192" actId="255"/>
          <ac:spMkLst>
            <pc:docMk/>
            <pc:sldMk cId="2555988378" sldId="697"/>
            <ac:spMk id="11" creationId="{F1CB943F-2158-A0A4-8B2B-5D5397C41B59}"/>
          </ac:spMkLst>
        </pc:spChg>
        <pc:spChg chg="add mod">
          <ac:chgData name="Josephine Steppat" userId="ad9ceb25-8da7-411f-bf87-5981331f6d79" providerId="ADAL" clId="{02001320-137C-4484-A223-FE868F9AB1D1}" dt="2025-01-31T12:57:54.844" v="1429"/>
          <ac:spMkLst>
            <pc:docMk/>
            <pc:sldMk cId="2555988378" sldId="697"/>
            <ac:spMk id="12" creationId="{0EF33A41-863B-8D3D-A308-1D7E1A03DBAC}"/>
          </ac:spMkLst>
        </pc:spChg>
        <pc:graphicFrameChg chg="mod ord">
          <ac:chgData name="Josephine Steppat" userId="ad9ceb25-8da7-411f-bf87-5981331f6d79" providerId="ADAL" clId="{02001320-137C-4484-A223-FE868F9AB1D1}" dt="2025-02-05T17:29:35.292" v="13124" actId="700"/>
          <ac:graphicFrameMkLst>
            <pc:docMk/>
            <pc:sldMk cId="2555988378" sldId="697"/>
            <ac:graphicFrameMk id="8" creationId="{00000000-0000-0000-0000-000000000000}"/>
          </ac:graphicFrameMkLst>
        </pc:graphicFrameChg>
      </pc:sldChg>
      <pc:sldChg chg="modSp add del mod modShow">
        <pc:chgData name="Josephine Steppat" userId="ad9ceb25-8da7-411f-bf87-5981331f6d79" providerId="ADAL" clId="{02001320-137C-4484-A223-FE868F9AB1D1}" dt="2025-02-05T17:23:03.405" v="13019" actId="2696"/>
        <pc:sldMkLst>
          <pc:docMk/>
          <pc:sldMk cId="3122040787" sldId="818"/>
        </pc:sldMkLst>
        <pc:spChg chg="mod">
          <ac:chgData name="Josephine Steppat" userId="ad9ceb25-8da7-411f-bf87-5981331f6d79" providerId="ADAL" clId="{02001320-137C-4484-A223-FE868F9AB1D1}" dt="2025-01-31T13:57:44.804" v="2625" actId="255"/>
          <ac:spMkLst>
            <pc:docMk/>
            <pc:sldMk cId="3122040787" sldId="818"/>
            <ac:spMk id="2" creationId="{B13077F1-D135-1873-BDC6-2718D5EDC4AA}"/>
          </ac:spMkLst>
        </pc:spChg>
      </pc:sldChg>
      <pc:sldChg chg="modSp add del mod modShow">
        <pc:chgData name="Josephine Steppat" userId="ad9ceb25-8da7-411f-bf87-5981331f6d79" providerId="ADAL" clId="{02001320-137C-4484-A223-FE868F9AB1D1}" dt="2025-02-05T17:21:24.997" v="12966" actId="2696"/>
        <pc:sldMkLst>
          <pc:docMk/>
          <pc:sldMk cId="2057734169" sldId="819"/>
        </pc:sldMkLst>
        <pc:spChg chg="mod">
          <ac:chgData name="Josephine Steppat" userId="ad9ceb25-8da7-411f-bf87-5981331f6d79" providerId="ADAL" clId="{02001320-137C-4484-A223-FE868F9AB1D1}" dt="2025-01-31T13:58:30.479" v="2628" actId="255"/>
          <ac:spMkLst>
            <pc:docMk/>
            <pc:sldMk cId="2057734169" sldId="819"/>
            <ac:spMk id="2" creationId="{B13077F1-D135-1873-BDC6-2718D5EDC4AA}"/>
          </ac:spMkLst>
        </pc:spChg>
      </pc:sldChg>
      <pc:sldChg chg="modSp add del mod modShow">
        <pc:chgData name="Josephine Steppat" userId="ad9ceb25-8da7-411f-bf87-5981331f6d79" providerId="ADAL" clId="{02001320-137C-4484-A223-FE868F9AB1D1}" dt="2025-02-05T17:21:39.078" v="12967" actId="2696"/>
        <pc:sldMkLst>
          <pc:docMk/>
          <pc:sldMk cId="434322366" sldId="820"/>
        </pc:sldMkLst>
        <pc:spChg chg="mod">
          <ac:chgData name="Josephine Steppat" userId="ad9ceb25-8da7-411f-bf87-5981331f6d79" providerId="ADAL" clId="{02001320-137C-4484-A223-FE868F9AB1D1}" dt="2025-01-31T13:58:23.743" v="2627" actId="255"/>
          <ac:spMkLst>
            <pc:docMk/>
            <pc:sldMk cId="434322366" sldId="820"/>
            <ac:spMk id="2" creationId="{B13077F1-D135-1873-BDC6-2718D5EDC4AA}"/>
          </ac:spMkLst>
        </pc:spChg>
      </pc:sldChg>
      <pc:sldChg chg="modSp add del mod modShow">
        <pc:chgData name="Josephine Steppat" userId="ad9ceb25-8da7-411f-bf87-5981331f6d79" providerId="ADAL" clId="{02001320-137C-4484-A223-FE868F9AB1D1}" dt="2025-02-05T17:21:46.982" v="12968" actId="2696"/>
        <pc:sldMkLst>
          <pc:docMk/>
          <pc:sldMk cId="3349868675" sldId="821"/>
        </pc:sldMkLst>
        <pc:spChg chg="mod">
          <ac:chgData name="Josephine Steppat" userId="ad9ceb25-8da7-411f-bf87-5981331f6d79" providerId="ADAL" clId="{02001320-137C-4484-A223-FE868F9AB1D1}" dt="2025-01-31T13:57:59.081" v="2626" actId="255"/>
          <ac:spMkLst>
            <pc:docMk/>
            <pc:sldMk cId="3349868675" sldId="821"/>
            <ac:spMk id="2" creationId="{B13077F1-D135-1873-BDC6-2718D5EDC4AA}"/>
          </ac:spMkLst>
        </pc:spChg>
      </pc:sldChg>
      <pc:sldChg chg="modSp add del mod modShow">
        <pc:chgData name="Josephine Steppat" userId="ad9ceb25-8da7-411f-bf87-5981331f6d79" providerId="ADAL" clId="{02001320-137C-4484-A223-FE868F9AB1D1}" dt="2025-02-05T17:22:43.452" v="13018" actId="47"/>
        <pc:sldMkLst>
          <pc:docMk/>
          <pc:sldMk cId="1691085066" sldId="822"/>
        </pc:sldMkLst>
        <pc:spChg chg="mod">
          <ac:chgData name="Josephine Steppat" userId="ad9ceb25-8da7-411f-bf87-5981331f6d79" providerId="ADAL" clId="{02001320-137C-4484-A223-FE868F9AB1D1}" dt="2025-01-31T13:58:36.810" v="2629" actId="255"/>
          <ac:spMkLst>
            <pc:docMk/>
            <pc:sldMk cId="1691085066" sldId="822"/>
            <ac:spMk id="13" creationId="{B9C223D5-88E8-C7F7-30A5-510FDA6106CA}"/>
          </ac:spMkLst>
        </pc:spChg>
      </pc:sldChg>
      <pc:sldChg chg="modSp add mod modNotesTx">
        <pc:chgData name="Josephine Steppat" userId="ad9ceb25-8da7-411f-bf87-5981331f6d79" providerId="ADAL" clId="{02001320-137C-4484-A223-FE868F9AB1D1}" dt="2025-02-07T12:10:15.093" v="13441" actId="1076"/>
        <pc:sldMkLst>
          <pc:docMk/>
          <pc:sldMk cId="1427027924" sldId="824"/>
        </pc:sldMkLst>
        <pc:spChg chg="mod">
          <ac:chgData name="Josephine Steppat" userId="ad9ceb25-8da7-411f-bf87-5981331f6d79" providerId="ADAL" clId="{02001320-137C-4484-A223-FE868F9AB1D1}" dt="2025-02-07T12:10:15.093" v="13441" actId="1076"/>
          <ac:spMkLst>
            <pc:docMk/>
            <pc:sldMk cId="1427027924" sldId="824"/>
            <ac:spMk id="2" creationId="{B04C7A36-0010-4E20-8AFC-D78C7D21B5F2}"/>
          </ac:spMkLst>
        </pc:spChg>
        <pc:spChg chg="mod">
          <ac:chgData name="Josephine Steppat" userId="ad9ceb25-8da7-411f-bf87-5981331f6d79" providerId="ADAL" clId="{02001320-137C-4484-A223-FE868F9AB1D1}" dt="2025-02-07T12:07:25.438" v="13399" actId="20577"/>
          <ac:spMkLst>
            <pc:docMk/>
            <pc:sldMk cId="1427027924" sldId="824"/>
            <ac:spMk id="3" creationId="{BE5B7D8C-5679-48BA-B0D5-9689CACE8954}"/>
          </ac:spMkLst>
        </pc:spChg>
      </pc:sldChg>
      <pc:sldChg chg="addSp modSp mod ord modAnim modNotesTx">
        <pc:chgData name="Josephine Steppat" userId="ad9ceb25-8da7-411f-bf87-5981331f6d79" providerId="ADAL" clId="{02001320-137C-4484-A223-FE868F9AB1D1}" dt="2025-02-07T12:11:10.350" v="13462" actId="2711"/>
        <pc:sldMkLst>
          <pc:docMk/>
          <pc:sldMk cId="72255503" sldId="825"/>
        </pc:sldMkLst>
        <pc:spChg chg="mod">
          <ac:chgData name="Josephine Steppat" userId="ad9ceb25-8da7-411f-bf87-5981331f6d79" providerId="ADAL" clId="{02001320-137C-4484-A223-FE868F9AB1D1}" dt="2025-02-07T12:10:40.177" v="13458" actId="20577"/>
          <ac:spMkLst>
            <pc:docMk/>
            <pc:sldMk cId="72255503" sldId="825"/>
            <ac:spMk id="3" creationId="{31A1D429-DF2A-FF8D-141E-773B3897E51A}"/>
          </ac:spMkLst>
        </pc:spChg>
        <pc:spChg chg="mod">
          <ac:chgData name="Josephine Steppat" userId="ad9ceb25-8da7-411f-bf87-5981331f6d79" providerId="ADAL" clId="{02001320-137C-4484-A223-FE868F9AB1D1}" dt="2025-02-07T12:11:10.350" v="13462" actId="2711"/>
          <ac:spMkLst>
            <pc:docMk/>
            <pc:sldMk cId="72255503" sldId="825"/>
            <ac:spMk id="4" creationId="{1CB8C950-8335-3AC1-364F-81B50A26F6DD}"/>
          </ac:spMkLst>
        </pc:spChg>
        <pc:spChg chg="mod">
          <ac:chgData name="Josephine Steppat" userId="ad9ceb25-8da7-411f-bf87-5981331f6d79" providerId="ADAL" clId="{02001320-137C-4484-A223-FE868F9AB1D1}" dt="2025-01-31T13:44:42.355" v="2415"/>
          <ac:spMkLst>
            <pc:docMk/>
            <pc:sldMk cId="72255503" sldId="825"/>
            <ac:spMk id="5" creationId="{F05BBF77-1693-FAAB-5F0B-FD7628FD54F4}"/>
          </ac:spMkLst>
        </pc:spChg>
        <pc:spChg chg="add mod">
          <ac:chgData name="Josephine Steppat" userId="ad9ceb25-8da7-411f-bf87-5981331f6d79" providerId="ADAL" clId="{02001320-137C-4484-A223-FE868F9AB1D1}" dt="2025-02-07T12:05:51.892" v="13360" actId="1076"/>
          <ac:spMkLst>
            <pc:docMk/>
            <pc:sldMk cId="72255503" sldId="825"/>
            <ac:spMk id="6" creationId="{E5963368-315D-6F3A-9B1C-9DD1A80D36E6}"/>
          </ac:spMkLst>
        </pc:spChg>
        <pc:spChg chg="mod">
          <ac:chgData name="Josephine Steppat" userId="ad9ceb25-8da7-411f-bf87-5981331f6d79" providerId="ADAL" clId="{02001320-137C-4484-A223-FE868F9AB1D1}" dt="2025-01-31T13:51:53.024" v="2576"/>
          <ac:spMkLst>
            <pc:docMk/>
            <pc:sldMk cId="72255503" sldId="825"/>
            <ac:spMk id="9" creationId="{8035FCCC-CFE3-C514-2ABE-44CD05662054}"/>
          </ac:spMkLst>
        </pc:spChg>
        <pc:spChg chg="mod">
          <ac:chgData name="Josephine Steppat" userId="ad9ceb25-8da7-411f-bf87-5981331f6d79" providerId="ADAL" clId="{02001320-137C-4484-A223-FE868F9AB1D1}" dt="2025-01-31T13:44:56.140" v="2420" actId="20577"/>
          <ac:spMkLst>
            <pc:docMk/>
            <pc:sldMk cId="72255503" sldId="825"/>
            <ac:spMk id="10" creationId="{43612006-1114-04C5-6F9F-5C850AAB50F0}"/>
          </ac:spMkLst>
        </pc:spChg>
        <pc:spChg chg="mod">
          <ac:chgData name="Josephine Steppat" userId="ad9ceb25-8da7-411f-bf87-5981331f6d79" providerId="ADAL" clId="{02001320-137C-4484-A223-FE868F9AB1D1}" dt="2025-01-31T13:51:41.523" v="2575" actId="6549"/>
          <ac:spMkLst>
            <pc:docMk/>
            <pc:sldMk cId="72255503" sldId="825"/>
            <ac:spMk id="16" creationId="{13F31D32-32D5-7214-A266-4674E543A5E6}"/>
          </ac:spMkLst>
        </pc:spChg>
        <pc:spChg chg="mod">
          <ac:chgData name="Josephine Steppat" userId="ad9ceb25-8da7-411f-bf87-5981331f6d79" providerId="ADAL" clId="{02001320-137C-4484-A223-FE868F9AB1D1}" dt="2025-01-31T13:44:59.929" v="2426" actId="20577"/>
          <ac:spMkLst>
            <pc:docMk/>
            <pc:sldMk cId="72255503" sldId="825"/>
            <ac:spMk id="19" creationId="{C9CE8EBC-EEB4-1C7D-D129-45C041B1A6EC}"/>
          </ac:spMkLst>
        </pc:spChg>
      </pc:sldChg>
      <pc:sldChg chg="addSp modSp add del mod modShow modNotesTx">
        <pc:chgData name="Josephine Steppat" userId="ad9ceb25-8da7-411f-bf87-5981331f6d79" providerId="ADAL" clId="{02001320-137C-4484-A223-FE868F9AB1D1}" dt="2025-02-06T12:12:46.991" v="13264" actId="47"/>
        <pc:sldMkLst>
          <pc:docMk/>
          <pc:sldMk cId="1685690064" sldId="826"/>
        </pc:sldMkLst>
        <pc:spChg chg="add mod">
          <ac:chgData name="Josephine Steppat" userId="ad9ceb25-8da7-411f-bf87-5981331f6d79" providerId="ADAL" clId="{02001320-137C-4484-A223-FE868F9AB1D1}" dt="2025-02-06T08:25:28.579" v="13253" actId="20577"/>
          <ac:spMkLst>
            <pc:docMk/>
            <pc:sldMk cId="1685690064" sldId="826"/>
            <ac:spMk id="2" creationId="{BA85607D-47D1-9B9F-79DF-4144FE1CA02F}"/>
          </ac:spMkLst>
        </pc:spChg>
        <pc:spChg chg="mod">
          <ac:chgData name="Josephine Steppat" userId="ad9ceb25-8da7-411f-bf87-5981331f6d79" providerId="ADAL" clId="{02001320-137C-4484-A223-FE868F9AB1D1}" dt="2025-01-31T13:59:07.936" v="2633" actId="255"/>
          <ac:spMkLst>
            <pc:docMk/>
            <pc:sldMk cId="1685690064" sldId="826"/>
            <ac:spMk id="6" creationId="{6F61C8CC-753F-918D-3EE1-FE37E8CAA24E}"/>
          </ac:spMkLst>
        </pc:spChg>
      </pc:sldChg>
      <pc:sldChg chg="addSp delSp modSp del mod ord modNotesTx">
        <pc:chgData name="Josephine Steppat" userId="ad9ceb25-8da7-411f-bf87-5981331f6d79" providerId="ADAL" clId="{02001320-137C-4484-A223-FE868F9AB1D1}" dt="2025-01-31T13:05:31.471" v="1544" actId="47"/>
        <pc:sldMkLst>
          <pc:docMk/>
          <pc:sldMk cId="2852983627" sldId="828"/>
        </pc:sldMkLst>
        <pc:spChg chg="add del mod">
          <ac:chgData name="Josephine Steppat" userId="ad9ceb25-8da7-411f-bf87-5981331f6d79" providerId="ADAL" clId="{02001320-137C-4484-A223-FE868F9AB1D1}" dt="2025-01-23T13:23:36.172" v="293" actId="478"/>
          <ac:spMkLst>
            <pc:docMk/>
            <pc:sldMk cId="2852983627" sldId="828"/>
            <ac:spMk id="2" creationId="{128D90DC-653C-5597-16AD-C209D2F1CDDD}"/>
          </ac:spMkLst>
        </pc:spChg>
        <pc:spChg chg="add del mod">
          <ac:chgData name="Josephine Steppat" userId="ad9ceb25-8da7-411f-bf87-5981331f6d79" providerId="ADAL" clId="{02001320-137C-4484-A223-FE868F9AB1D1}" dt="2025-01-23T14:29:24.387" v="323"/>
          <ac:spMkLst>
            <pc:docMk/>
            <pc:sldMk cId="2852983627" sldId="828"/>
            <ac:spMk id="4" creationId="{1BFE3DED-7EE3-0C45-68CC-62450EF9FB77}"/>
          </ac:spMkLst>
        </pc:spChg>
        <pc:spChg chg="add del mod">
          <ac:chgData name="Josephine Steppat" userId="ad9ceb25-8da7-411f-bf87-5981331f6d79" providerId="ADAL" clId="{02001320-137C-4484-A223-FE868F9AB1D1}" dt="2025-01-23T14:29:19.283" v="321"/>
          <ac:spMkLst>
            <pc:docMk/>
            <pc:sldMk cId="2852983627" sldId="828"/>
            <ac:spMk id="7" creationId="{406C3CB4-6FB7-812D-AE94-7FA16D2F7F04}"/>
          </ac:spMkLst>
        </pc:spChg>
        <pc:spChg chg="mod">
          <ac:chgData name="Josephine Steppat" userId="ad9ceb25-8da7-411f-bf87-5981331f6d79" providerId="ADAL" clId="{02001320-137C-4484-A223-FE868F9AB1D1}" dt="2025-01-21T14:06:06.696" v="167" actId="20577"/>
          <ac:spMkLst>
            <pc:docMk/>
            <pc:sldMk cId="2852983627" sldId="828"/>
            <ac:spMk id="10" creationId="{3071C1BA-D605-DE68-3F95-ED1B83ACB28A}"/>
          </ac:spMkLst>
        </pc:spChg>
        <pc:spChg chg="mod">
          <ac:chgData name="Josephine Steppat" userId="ad9ceb25-8da7-411f-bf87-5981331f6d79" providerId="ADAL" clId="{02001320-137C-4484-A223-FE868F9AB1D1}" dt="2025-01-23T14:30:48.698" v="399" actId="20577"/>
          <ac:spMkLst>
            <pc:docMk/>
            <pc:sldMk cId="2852983627" sldId="828"/>
            <ac:spMk id="13" creationId="{DADBA195-4864-AFEA-F574-719E77906701}"/>
          </ac:spMkLst>
        </pc:spChg>
        <pc:graphicFrameChg chg="add mod">
          <ac:chgData name="Josephine Steppat" userId="ad9ceb25-8da7-411f-bf87-5981331f6d79" providerId="ADAL" clId="{02001320-137C-4484-A223-FE868F9AB1D1}" dt="2025-01-31T12:52:15.665" v="1235" actId="20577"/>
          <ac:graphicFrameMkLst>
            <pc:docMk/>
            <pc:sldMk cId="2852983627" sldId="828"/>
            <ac:graphicFrameMk id="8" creationId="{9AA740C4-FEBC-D4DD-A5DA-95B71B74037D}"/>
          </ac:graphicFrameMkLst>
        </pc:graphicFrameChg>
        <pc:graphicFrameChg chg="add mod">
          <ac:chgData name="Josephine Steppat" userId="ad9ceb25-8da7-411f-bf87-5981331f6d79" providerId="ADAL" clId="{02001320-137C-4484-A223-FE868F9AB1D1}" dt="2025-01-23T14:29:24.387" v="323"/>
          <ac:graphicFrameMkLst>
            <pc:docMk/>
            <pc:sldMk cId="2852983627" sldId="828"/>
            <ac:graphicFrameMk id="9" creationId="{DC84F35F-295D-E8F6-4D58-398EF597662E}"/>
          </ac:graphicFrameMkLst>
        </pc:graphicFrameChg>
        <pc:graphicFrameChg chg="del">
          <ac:chgData name="Josephine Steppat" userId="ad9ceb25-8da7-411f-bf87-5981331f6d79" providerId="ADAL" clId="{02001320-137C-4484-A223-FE868F9AB1D1}" dt="2025-01-23T13:45:33.326" v="316" actId="478"/>
          <ac:graphicFrameMkLst>
            <pc:docMk/>
            <pc:sldMk cId="2852983627" sldId="828"/>
            <ac:graphicFrameMk id="15" creationId="{9AA740C4-FEBC-D4DD-A5DA-95B71B74037D}"/>
          </ac:graphicFrameMkLst>
        </pc:graphicFrameChg>
        <pc:graphicFrameChg chg="del">
          <ac:chgData name="Josephine Steppat" userId="ad9ceb25-8da7-411f-bf87-5981331f6d79" providerId="ADAL" clId="{02001320-137C-4484-A223-FE868F9AB1D1}" dt="2025-01-23T13:31:17.598" v="314" actId="478"/>
          <ac:graphicFrameMkLst>
            <pc:docMk/>
            <pc:sldMk cId="2852983627" sldId="828"/>
            <ac:graphicFrameMk id="16" creationId="{2FD19D96-7A43-58EA-2CAF-85084E27F730}"/>
          </ac:graphicFrameMkLst>
        </pc:graphicFrameChg>
      </pc:sldChg>
      <pc:sldChg chg="del ord">
        <pc:chgData name="Josephine Steppat" userId="ad9ceb25-8da7-411f-bf87-5981331f6d79" providerId="ADAL" clId="{02001320-137C-4484-A223-FE868F9AB1D1}" dt="2025-01-31T13:45:27.532" v="2427" actId="47"/>
        <pc:sldMkLst>
          <pc:docMk/>
          <pc:sldMk cId="2191591839" sldId="829"/>
        </pc:sldMkLst>
      </pc:sldChg>
      <pc:sldChg chg="addSp delSp modSp add del mod setBg">
        <pc:chgData name="Josephine Steppat" userId="ad9ceb25-8da7-411f-bf87-5981331f6d79" providerId="ADAL" clId="{02001320-137C-4484-A223-FE868F9AB1D1}" dt="2025-01-22T14:29:26.400" v="201" actId="47"/>
        <pc:sldMkLst>
          <pc:docMk/>
          <pc:sldMk cId="333373851" sldId="830"/>
        </pc:sldMkLst>
        <pc:spChg chg="add mod">
          <ac:chgData name="Josephine Steppat" userId="ad9ceb25-8da7-411f-bf87-5981331f6d79" providerId="ADAL" clId="{02001320-137C-4484-A223-FE868F9AB1D1}" dt="2025-01-22T14:20:26.129" v="194" actId="478"/>
          <ac:spMkLst>
            <pc:docMk/>
            <pc:sldMk cId="333373851" sldId="830"/>
            <ac:spMk id="6" creationId="{8B96C1C7-AC51-AD2E-4AA8-24FE06F7AF0C}"/>
          </ac:spMkLst>
        </pc:spChg>
        <pc:spChg chg="del">
          <ac:chgData name="Josephine Steppat" userId="ad9ceb25-8da7-411f-bf87-5981331f6d79" providerId="ADAL" clId="{02001320-137C-4484-A223-FE868F9AB1D1}" dt="2025-01-22T14:20:03.682" v="190"/>
          <ac:spMkLst>
            <pc:docMk/>
            <pc:sldMk cId="333373851" sldId="830"/>
            <ac:spMk id="8" creationId="{00000000-0000-0000-0000-000000000000}"/>
          </ac:spMkLst>
        </pc:spChg>
        <pc:spChg chg="add del">
          <ac:chgData name="Josephine Steppat" userId="ad9ceb25-8da7-411f-bf87-5981331f6d79" providerId="ADAL" clId="{02001320-137C-4484-A223-FE868F9AB1D1}" dt="2025-01-22T14:20:28.112" v="195" actId="478"/>
          <ac:spMkLst>
            <pc:docMk/>
            <pc:sldMk cId="333373851" sldId="830"/>
            <ac:spMk id="9" creationId="{00000000-0000-0000-0000-000000000000}"/>
          </ac:spMkLst>
        </pc:spChg>
        <pc:picChg chg="del">
          <ac:chgData name="Josephine Steppat" userId="ad9ceb25-8da7-411f-bf87-5981331f6d79" providerId="ADAL" clId="{02001320-137C-4484-A223-FE868F9AB1D1}" dt="2025-01-22T14:20:55.268" v="200" actId="478"/>
          <ac:picMkLst>
            <pc:docMk/>
            <pc:sldMk cId="333373851" sldId="830"/>
            <ac:picMk id="10" creationId="{00000000-0000-0000-0000-000000000000}"/>
          </ac:picMkLst>
        </pc:picChg>
      </pc:sldChg>
      <pc:sldChg chg="modSp new del mod ord">
        <pc:chgData name="Josephine Steppat" userId="ad9ceb25-8da7-411f-bf87-5981331f6d79" providerId="ADAL" clId="{02001320-137C-4484-A223-FE868F9AB1D1}" dt="2025-01-25T13:48:33.571" v="440" actId="47"/>
        <pc:sldMkLst>
          <pc:docMk/>
          <pc:sldMk cId="2215386634" sldId="830"/>
        </pc:sldMkLst>
        <pc:spChg chg="mod">
          <ac:chgData name="Josephine Steppat" userId="ad9ceb25-8da7-411f-bf87-5981331f6d79" providerId="ADAL" clId="{02001320-137C-4484-A223-FE868F9AB1D1}" dt="2025-01-25T13:44:27.649" v="433" actId="20577"/>
          <ac:spMkLst>
            <pc:docMk/>
            <pc:sldMk cId="2215386634" sldId="830"/>
            <ac:spMk id="2" creationId="{26140904-C577-3B26-416B-78CD6C292901}"/>
          </ac:spMkLst>
        </pc:spChg>
      </pc:sldChg>
      <pc:sldChg chg="addSp delSp modSp new del mod ord modNotesTx">
        <pc:chgData name="Josephine Steppat" userId="ad9ceb25-8da7-411f-bf87-5981331f6d79" providerId="ADAL" clId="{02001320-137C-4484-A223-FE868F9AB1D1}" dt="2025-01-31T13:17:41.874" v="2096" actId="47"/>
        <pc:sldMkLst>
          <pc:docMk/>
          <pc:sldMk cId="3572772726" sldId="831"/>
        </pc:sldMkLst>
        <pc:spChg chg="mod">
          <ac:chgData name="Josephine Steppat" userId="ad9ceb25-8da7-411f-bf87-5981331f6d79" providerId="ADAL" clId="{02001320-137C-4484-A223-FE868F9AB1D1}" dt="2025-01-31T13:11:27.829" v="1704" actId="20577"/>
          <ac:spMkLst>
            <pc:docMk/>
            <pc:sldMk cId="3572772726" sldId="831"/>
            <ac:spMk id="2" creationId="{437AD221-7FDA-6380-85E9-B0B097DF5BB0}"/>
          </ac:spMkLst>
        </pc:spChg>
        <pc:spChg chg="del mod">
          <ac:chgData name="Josephine Steppat" userId="ad9ceb25-8da7-411f-bf87-5981331f6d79" providerId="ADAL" clId="{02001320-137C-4484-A223-FE868F9AB1D1}" dt="2025-01-25T15:30:41.252" v="525"/>
          <ac:spMkLst>
            <pc:docMk/>
            <pc:sldMk cId="3572772726" sldId="831"/>
            <ac:spMk id="3" creationId="{89768062-33F0-8C8E-033A-5936C1F1EF79}"/>
          </ac:spMkLst>
        </pc:spChg>
        <pc:spChg chg="mod">
          <ac:chgData name="Josephine Steppat" userId="ad9ceb25-8da7-411f-bf87-5981331f6d79" providerId="ADAL" clId="{02001320-137C-4484-A223-FE868F9AB1D1}" dt="2025-01-31T13:11:19.048" v="1686" actId="20577"/>
          <ac:spMkLst>
            <pc:docMk/>
            <pc:sldMk cId="3572772726" sldId="831"/>
            <ac:spMk id="4" creationId="{5301033F-1947-45B1-1847-F360E9265F89}"/>
          </ac:spMkLst>
        </pc:spChg>
        <pc:spChg chg="del mod">
          <ac:chgData name="Josephine Steppat" userId="ad9ceb25-8da7-411f-bf87-5981331f6d79" providerId="ADAL" clId="{02001320-137C-4484-A223-FE868F9AB1D1}" dt="2025-01-25T15:30:51.381" v="526"/>
          <ac:spMkLst>
            <pc:docMk/>
            <pc:sldMk cId="3572772726" sldId="831"/>
            <ac:spMk id="5" creationId="{5E435E73-8A2B-59E0-EC57-D4D8ABE1645E}"/>
          </ac:spMkLst>
        </pc:spChg>
        <pc:spChg chg="mod">
          <ac:chgData name="Josephine Steppat" userId="ad9ceb25-8da7-411f-bf87-5981331f6d79" providerId="ADAL" clId="{02001320-137C-4484-A223-FE868F9AB1D1}" dt="2025-01-31T13:11:22.728" v="1695" actId="20577"/>
          <ac:spMkLst>
            <pc:docMk/>
            <pc:sldMk cId="3572772726" sldId="831"/>
            <ac:spMk id="6" creationId="{CF3D2639-31B0-EBE0-DAD2-0C700ABC792F}"/>
          </ac:spMkLst>
        </pc:spChg>
        <pc:graphicFrameChg chg="add mod">
          <ac:chgData name="Josephine Steppat" userId="ad9ceb25-8da7-411f-bf87-5981331f6d79" providerId="ADAL" clId="{02001320-137C-4484-A223-FE868F9AB1D1}" dt="2025-01-25T15:30:41.252" v="525"/>
          <ac:graphicFrameMkLst>
            <pc:docMk/>
            <pc:sldMk cId="3572772726" sldId="831"/>
            <ac:graphicFrameMk id="11" creationId="{0C40363A-2945-F1F5-5850-46E0400D92C3}"/>
          </ac:graphicFrameMkLst>
        </pc:graphicFrameChg>
        <pc:graphicFrameChg chg="add mod">
          <ac:chgData name="Josephine Steppat" userId="ad9ceb25-8da7-411f-bf87-5981331f6d79" providerId="ADAL" clId="{02001320-137C-4484-A223-FE868F9AB1D1}" dt="2025-01-25T15:30:51.381" v="526"/>
          <ac:graphicFrameMkLst>
            <pc:docMk/>
            <pc:sldMk cId="3572772726" sldId="831"/>
            <ac:graphicFrameMk id="12" creationId="{C4BE2A8B-6C05-424A-A92E-89055E286639}"/>
          </ac:graphicFrameMkLst>
        </pc:graphicFrameChg>
      </pc:sldChg>
      <pc:sldChg chg="modSp new del mod">
        <pc:chgData name="Josephine Steppat" userId="ad9ceb25-8da7-411f-bf87-5981331f6d79" providerId="ADAL" clId="{02001320-137C-4484-A223-FE868F9AB1D1}" dt="2025-01-31T13:17:43.393" v="2097" actId="47"/>
        <pc:sldMkLst>
          <pc:docMk/>
          <pc:sldMk cId="3610322364" sldId="832"/>
        </pc:sldMkLst>
        <pc:spChg chg="mod">
          <ac:chgData name="Josephine Steppat" userId="ad9ceb25-8da7-411f-bf87-5981331f6d79" providerId="ADAL" clId="{02001320-137C-4484-A223-FE868F9AB1D1}" dt="2025-01-31T13:14:13.688" v="1975" actId="255"/>
          <ac:spMkLst>
            <pc:docMk/>
            <pc:sldMk cId="3610322364" sldId="832"/>
            <ac:spMk id="2" creationId="{1BE990A5-C348-520D-3317-EDF9E0EA010D}"/>
          </ac:spMkLst>
        </pc:spChg>
      </pc:sldChg>
      <pc:sldChg chg="addSp delSp modSp add del mod modNotesTx">
        <pc:chgData name="Josephine Steppat" userId="ad9ceb25-8da7-411f-bf87-5981331f6d79" providerId="ADAL" clId="{02001320-137C-4484-A223-FE868F9AB1D1}" dt="2025-01-31T10:09:51.790" v="1135" actId="47"/>
        <pc:sldMkLst>
          <pc:docMk/>
          <pc:sldMk cId="489042506" sldId="833"/>
        </pc:sldMkLst>
        <pc:spChg chg="add del mod">
          <ac:chgData name="Josephine Steppat" userId="ad9ceb25-8da7-411f-bf87-5981331f6d79" providerId="ADAL" clId="{02001320-137C-4484-A223-FE868F9AB1D1}" dt="2025-01-31T09:52:22.483" v="1110" actId="478"/>
          <ac:spMkLst>
            <pc:docMk/>
            <pc:sldMk cId="489042506" sldId="833"/>
            <ac:spMk id="3" creationId="{8ECBB1EF-3F17-D00A-1810-DB6DC477B405}"/>
          </ac:spMkLst>
        </pc:spChg>
        <pc:spChg chg="add del mod">
          <ac:chgData name="Josephine Steppat" userId="ad9ceb25-8da7-411f-bf87-5981331f6d79" providerId="ADAL" clId="{02001320-137C-4484-A223-FE868F9AB1D1}" dt="2025-01-31T09:52:29.225" v="1114" actId="478"/>
          <ac:spMkLst>
            <pc:docMk/>
            <pc:sldMk cId="489042506" sldId="833"/>
            <ac:spMk id="5" creationId="{ACED464A-9659-909E-C6E0-756B62EC791A}"/>
          </ac:spMkLst>
        </pc:spChg>
        <pc:spChg chg="del">
          <ac:chgData name="Josephine Steppat" userId="ad9ceb25-8da7-411f-bf87-5981331f6d79" providerId="ADAL" clId="{02001320-137C-4484-A223-FE868F9AB1D1}" dt="2025-01-31T09:52:16.567" v="1108" actId="478"/>
          <ac:spMkLst>
            <pc:docMk/>
            <pc:sldMk cId="489042506" sldId="833"/>
            <ac:spMk id="10" creationId="{3071C1BA-D605-DE68-3F95-ED1B83ACB28A}"/>
          </ac:spMkLst>
        </pc:spChg>
        <pc:spChg chg="add del mod">
          <ac:chgData name="Josephine Steppat" userId="ad9ceb25-8da7-411f-bf87-5981331f6d79" providerId="ADAL" clId="{02001320-137C-4484-A223-FE868F9AB1D1}" dt="2025-01-31T09:52:28.189" v="1113" actId="478"/>
          <ac:spMkLst>
            <pc:docMk/>
            <pc:sldMk cId="489042506" sldId="833"/>
            <ac:spMk id="11" creationId="{DDFD47D8-2D33-97BC-DC6B-0C04AA0EB20A}"/>
          </ac:spMkLst>
        </pc:spChg>
        <pc:spChg chg="del mod">
          <ac:chgData name="Josephine Steppat" userId="ad9ceb25-8da7-411f-bf87-5981331f6d79" providerId="ADAL" clId="{02001320-137C-4484-A223-FE868F9AB1D1}" dt="2025-01-31T09:52:24.117" v="1111" actId="478"/>
          <ac:spMkLst>
            <pc:docMk/>
            <pc:sldMk cId="489042506" sldId="833"/>
            <ac:spMk id="13" creationId="{DADBA195-4864-AFEA-F574-719E77906701}"/>
          </ac:spMkLst>
        </pc:spChg>
        <pc:graphicFrameChg chg="mod">
          <ac:chgData name="Josephine Steppat" userId="ad9ceb25-8da7-411f-bf87-5981331f6d79" providerId="ADAL" clId="{02001320-137C-4484-A223-FE868F9AB1D1}" dt="2025-01-31T09:52:39.946" v="1118" actId="14100"/>
          <ac:graphicFrameMkLst>
            <pc:docMk/>
            <pc:sldMk cId="489042506" sldId="833"/>
            <ac:graphicFrameMk id="8" creationId="{9AA740C4-FEBC-D4DD-A5DA-95B71B74037D}"/>
          </ac:graphicFrameMkLst>
        </pc:graphicFrameChg>
        <pc:graphicFrameChg chg="del">
          <ac:chgData name="Josephine Steppat" userId="ad9ceb25-8da7-411f-bf87-5981331f6d79" providerId="ADAL" clId="{02001320-137C-4484-A223-FE868F9AB1D1}" dt="2025-01-31T09:52:26.709" v="1112" actId="478"/>
          <ac:graphicFrameMkLst>
            <pc:docMk/>
            <pc:sldMk cId="489042506" sldId="833"/>
            <ac:graphicFrameMk id="9" creationId="{DC84F35F-295D-E8F6-4D58-398EF597662E}"/>
          </ac:graphicFrameMkLst>
        </pc:graphicFrameChg>
      </pc:sldChg>
      <pc:sldChg chg="addSp delSp modSp add mod modClrScheme chgLayout modNotesTx">
        <pc:chgData name="Josephine Steppat" userId="ad9ceb25-8da7-411f-bf87-5981331f6d79" providerId="ADAL" clId="{02001320-137C-4484-A223-FE868F9AB1D1}" dt="2025-02-07T12:10:09.224" v="13440" actId="1076"/>
        <pc:sldMkLst>
          <pc:docMk/>
          <pc:sldMk cId="3983777732" sldId="833"/>
        </pc:sldMkLst>
        <pc:spChg chg="mod ord">
          <ac:chgData name="Josephine Steppat" userId="ad9ceb25-8da7-411f-bf87-5981331f6d79" providerId="ADAL" clId="{02001320-137C-4484-A223-FE868F9AB1D1}" dt="2025-02-05T17:32:42.792" v="13219" actId="20577"/>
          <ac:spMkLst>
            <pc:docMk/>
            <pc:sldMk cId="3983777732" sldId="833"/>
            <ac:spMk id="2" creationId="{00000000-0000-0000-0000-000000000000}"/>
          </ac:spMkLst>
        </pc:spChg>
        <pc:spChg chg="del mod ord">
          <ac:chgData name="Josephine Steppat" userId="ad9ceb25-8da7-411f-bf87-5981331f6d79" providerId="ADAL" clId="{02001320-137C-4484-A223-FE868F9AB1D1}" dt="2025-02-07T11:59:49.728" v="13266" actId="478"/>
          <ac:spMkLst>
            <pc:docMk/>
            <pc:sldMk cId="3983777732" sldId="833"/>
            <ac:spMk id="3" creationId="{00000000-0000-0000-0000-000000000000}"/>
          </ac:spMkLst>
        </pc:spChg>
        <pc:spChg chg="del mod ord">
          <ac:chgData name="Josephine Steppat" userId="ad9ceb25-8da7-411f-bf87-5981331f6d79" providerId="ADAL" clId="{02001320-137C-4484-A223-FE868F9AB1D1}" dt="2025-02-05T17:32:21.144" v="13209" actId="478"/>
          <ac:spMkLst>
            <pc:docMk/>
            <pc:sldMk cId="3983777732" sldId="833"/>
            <ac:spMk id="4" creationId="{B0455A1F-E740-A462-02EC-A902B6B5D009}"/>
          </ac:spMkLst>
        </pc:spChg>
        <pc:spChg chg="mod ord">
          <ac:chgData name="Josephine Steppat" userId="ad9ceb25-8da7-411f-bf87-5981331f6d79" providerId="ADAL" clId="{02001320-137C-4484-A223-FE868F9AB1D1}" dt="2025-02-07T12:10:09.224" v="13440" actId="1076"/>
          <ac:spMkLst>
            <pc:docMk/>
            <pc:sldMk cId="3983777732" sldId="833"/>
            <ac:spMk id="5" creationId="{00000000-0000-0000-0000-000000000000}"/>
          </ac:spMkLst>
        </pc:spChg>
        <pc:spChg chg="mod ord">
          <ac:chgData name="Josephine Steppat" userId="ad9ceb25-8da7-411f-bf87-5981331f6d79" providerId="ADAL" clId="{02001320-137C-4484-A223-FE868F9AB1D1}" dt="2025-02-05T17:32:11.388" v="13208" actId="700"/>
          <ac:spMkLst>
            <pc:docMk/>
            <pc:sldMk cId="3983777732" sldId="833"/>
            <ac:spMk id="6" creationId="{29968520-D199-1E29-5395-F839A14C586B}"/>
          </ac:spMkLst>
        </pc:spChg>
        <pc:spChg chg="add mod ord">
          <ac:chgData name="Josephine Steppat" userId="ad9ceb25-8da7-411f-bf87-5981331f6d79" providerId="ADAL" clId="{02001320-137C-4484-A223-FE868F9AB1D1}" dt="2025-02-07T12:07:21.657" v="13397" actId="20577"/>
          <ac:spMkLst>
            <pc:docMk/>
            <pc:sldMk cId="3983777732" sldId="833"/>
            <ac:spMk id="7" creationId="{BA4EEC49-E149-BD17-DBD3-ED69A48325C8}"/>
          </ac:spMkLst>
        </pc:spChg>
        <pc:spChg chg="del">
          <ac:chgData name="Josephine Steppat" userId="ad9ceb25-8da7-411f-bf87-5981331f6d79" providerId="ADAL" clId="{02001320-137C-4484-A223-FE868F9AB1D1}" dt="2025-01-31T12:59:18.579" v="1472" actId="478"/>
          <ac:spMkLst>
            <pc:docMk/>
            <pc:sldMk cId="3983777732" sldId="833"/>
            <ac:spMk id="9" creationId="{A0E7BFD1-5D2E-39A5-DC68-16AE78664E17}"/>
          </ac:spMkLst>
        </pc:spChg>
        <pc:spChg chg="del mod">
          <ac:chgData name="Josephine Steppat" userId="ad9ceb25-8da7-411f-bf87-5981331f6d79" providerId="ADAL" clId="{02001320-137C-4484-A223-FE868F9AB1D1}" dt="2025-01-31T12:59:16.675" v="1471" actId="478"/>
          <ac:spMkLst>
            <pc:docMk/>
            <pc:sldMk cId="3983777732" sldId="833"/>
            <ac:spMk id="10" creationId="{EEB10BA5-446B-5BF6-095B-56D5F8E3796B}"/>
          </ac:spMkLst>
        </pc:spChg>
        <pc:spChg chg="del mod">
          <ac:chgData name="Josephine Steppat" userId="ad9ceb25-8da7-411f-bf87-5981331f6d79" providerId="ADAL" clId="{02001320-137C-4484-A223-FE868F9AB1D1}" dt="2025-01-31T12:59:14.815" v="1470" actId="478"/>
          <ac:spMkLst>
            <pc:docMk/>
            <pc:sldMk cId="3983777732" sldId="833"/>
            <ac:spMk id="11" creationId="{F1CB943F-2158-A0A4-8B2B-5D5397C41B59}"/>
          </ac:spMkLst>
        </pc:spChg>
        <pc:spChg chg="add del mod ord">
          <ac:chgData name="Josephine Steppat" userId="ad9ceb25-8da7-411f-bf87-5981331f6d79" providerId="ADAL" clId="{02001320-137C-4484-A223-FE868F9AB1D1}" dt="2025-02-05T17:33:03.499" v="13235" actId="14100"/>
          <ac:spMkLst>
            <pc:docMk/>
            <pc:sldMk cId="3983777732" sldId="833"/>
            <ac:spMk id="12" creationId="{5FBBD4C7-49A9-2EF6-B975-1F6DAB3F2870}"/>
          </ac:spMkLst>
        </pc:spChg>
        <pc:graphicFrameChg chg="del mod">
          <ac:chgData name="Josephine Steppat" userId="ad9ceb25-8da7-411f-bf87-5981331f6d79" providerId="ADAL" clId="{02001320-137C-4484-A223-FE868F9AB1D1}" dt="2025-01-31T12:59:02.250" v="1466" actId="478"/>
          <ac:graphicFrameMkLst>
            <pc:docMk/>
            <pc:sldMk cId="3983777732" sldId="833"/>
            <ac:graphicFrameMk id="8" creationId="{00000000-0000-0000-0000-000000000000}"/>
          </ac:graphicFrameMkLst>
        </pc:graphicFrameChg>
        <pc:graphicFrameChg chg="add mod">
          <ac:chgData name="Josephine Steppat" userId="ad9ceb25-8da7-411f-bf87-5981331f6d79" providerId="ADAL" clId="{02001320-137C-4484-A223-FE868F9AB1D1}" dt="2025-01-31T13:09:01.322" v="1616" actId="14100"/>
          <ac:graphicFrameMkLst>
            <pc:docMk/>
            <pc:sldMk cId="3983777732" sldId="833"/>
            <ac:graphicFrameMk id="13" creationId="{8AC34BF8-5123-E2DE-851C-EE941B56827F}"/>
          </ac:graphicFrameMkLst>
        </pc:graphicFrameChg>
        <pc:graphicFrameChg chg="add mod">
          <ac:chgData name="Josephine Steppat" userId="ad9ceb25-8da7-411f-bf87-5981331f6d79" providerId="ADAL" clId="{02001320-137C-4484-A223-FE868F9AB1D1}" dt="2025-01-31T13:00:27.559" v="1528"/>
          <ac:graphicFrameMkLst>
            <pc:docMk/>
            <pc:sldMk cId="3983777732" sldId="833"/>
            <ac:graphicFrameMk id="14" creationId="{23C704D4-3D2D-BF64-D090-584745D04FEB}"/>
          </ac:graphicFrameMkLst>
        </pc:graphicFrameChg>
        <pc:graphicFrameChg chg="add del mod">
          <ac:chgData name="Josephine Steppat" userId="ad9ceb25-8da7-411f-bf87-5981331f6d79" providerId="ADAL" clId="{02001320-137C-4484-A223-FE868F9AB1D1}" dt="2025-01-31T13:08:34.518" v="1610" actId="478"/>
          <ac:graphicFrameMkLst>
            <pc:docMk/>
            <pc:sldMk cId="3983777732" sldId="833"/>
            <ac:graphicFrameMk id="15" creationId="{803AA6CC-DC56-E231-8603-5513E9D6DFBF}"/>
          </ac:graphicFrameMkLst>
        </pc:graphicFrameChg>
      </pc:sldChg>
      <pc:sldChg chg="addSp delSp modSp add mod modClrScheme chgLayout modNotesTx">
        <pc:chgData name="Josephine Steppat" userId="ad9ceb25-8da7-411f-bf87-5981331f6d79" providerId="ADAL" clId="{02001320-137C-4484-A223-FE868F9AB1D1}" dt="2025-02-07T12:08:01.191" v="13420" actId="1076"/>
        <pc:sldMkLst>
          <pc:docMk/>
          <pc:sldMk cId="2205808248" sldId="834"/>
        </pc:sldMkLst>
        <pc:spChg chg="add del mod ord">
          <ac:chgData name="Josephine Steppat" userId="ad9ceb25-8da7-411f-bf87-5981331f6d79" providerId="ADAL" clId="{02001320-137C-4484-A223-FE868F9AB1D1}" dt="2025-02-07T12:00:17.472" v="13270" actId="700"/>
          <ac:spMkLst>
            <pc:docMk/>
            <pc:sldMk cId="2205808248" sldId="834"/>
            <ac:spMk id="2" creationId="{00000000-0000-0000-0000-000000000000}"/>
          </ac:spMkLst>
        </pc:spChg>
        <pc:spChg chg="del mod ord">
          <ac:chgData name="Josephine Steppat" userId="ad9ceb25-8da7-411f-bf87-5981331f6d79" providerId="ADAL" clId="{02001320-137C-4484-A223-FE868F9AB1D1}" dt="2025-02-07T11:59:53.966" v="13267" actId="478"/>
          <ac:spMkLst>
            <pc:docMk/>
            <pc:sldMk cId="2205808248" sldId="834"/>
            <ac:spMk id="3" creationId="{00000000-0000-0000-0000-000000000000}"/>
          </ac:spMkLst>
        </pc:spChg>
        <pc:spChg chg="del mod ord">
          <ac:chgData name="Josephine Steppat" userId="ad9ceb25-8da7-411f-bf87-5981331f6d79" providerId="ADAL" clId="{02001320-137C-4484-A223-FE868F9AB1D1}" dt="2025-02-07T11:59:57.131" v="13268" actId="478"/>
          <ac:spMkLst>
            <pc:docMk/>
            <pc:sldMk cId="2205808248" sldId="834"/>
            <ac:spMk id="4" creationId="{B0455A1F-E740-A462-02EC-A902B6B5D009}"/>
          </ac:spMkLst>
        </pc:spChg>
        <pc:spChg chg="mod ord">
          <ac:chgData name="Josephine Steppat" userId="ad9ceb25-8da7-411f-bf87-5981331f6d79" providerId="ADAL" clId="{02001320-137C-4484-A223-FE868F9AB1D1}" dt="2025-02-07T12:08:01.191" v="13420" actId="1076"/>
          <ac:spMkLst>
            <pc:docMk/>
            <pc:sldMk cId="2205808248" sldId="834"/>
            <ac:spMk id="5" creationId="{00000000-0000-0000-0000-000000000000}"/>
          </ac:spMkLst>
        </pc:spChg>
        <pc:spChg chg="del mod ord">
          <ac:chgData name="Josephine Steppat" userId="ad9ceb25-8da7-411f-bf87-5981331f6d79" providerId="ADAL" clId="{02001320-137C-4484-A223-FE868F9AB1D1}" dt="2025-02-07T12:00:39.351" v="13276" actId="478"/>
          <ac:spMkLst>
            <pc:docMk/>
            <pc:sldMk cId="2205808248" sldId="834"/>
            <ac:spMk id="6" creationId="{29968520-D199-1E29-5395-F839A14C586B}"/>
          </ac:spMkLst>
        </pc:spChg>
        <pc:spChg chg="add mod">
          <ac:chgData name="Josephine Steppat" userId="ad9ceb25-8da7-411f-bf87-5981331f6d79" providerId="ADAL" clId="{02001320-137C-4484-A223-FE868F9AB1D1}" dt="2025-02-07T12:07:53.166" v="13419" actId="20577"/>
          <ac:spMkLst>
            <pc:docMk/>
            <pc:sldMk cId="2205808248" sldId="834"/>
            <ac:spMk id="7" creationId="{8D96D9B3-85C8-D0B7-771A-D69771E57BC2}"/>
          </ac:spMkLst>
        </pc:spChg>
        <pc:spChg chg="add del mod ord">
          <ac:chgData name="Josephine Steppat" userId="ad9ceb25-8da7-411f-bf87-5981331f6d79" providerId="ADAL" clId="{02001320-137C-4484-A223-FE868F9AB1D1}" dt="2025-01-31T13:14:51.517" v="1979" actId="700"/>
          <ac:spMkLst>
            <pc:docMk/>
            <pc:sldMk cId="2205808248" sldId="834"/>
            <ac:spMk id="8" creationId="{E13D96BA-D2E1-1F9F-CA82-7D9E33B992CC}"/>
          </ac:spMkLst>
        </pc:spChg>
        <pc:spChg chg="add del mod ord">
          <ac:chgData name="Josephine Steppat" userId="ad9ceb25-8da7-411f-bf87-5981331f6d79" providerId="ADAL" clId="{02001320-137C-4484-A223-FE868F9AB1D1}" dt="2025-01-31T13:15:50.380" v="2023"/>
          <ac:spMkLst>
            <pc:docMk/>
            <pc:sldMk cId="2205808248" sldId="834"/>
            <ac:spMk id="9" creationId="{9CAB7E9F-BBCC-D1E2-9437-512B3988C6B2}"/>
          </ac:spMkLst>
        </pc:spChg>
        <pc:spChg chg="add mod ord">
          <ac:chgData name="Josephine Steppat" userId="ad9ceb25-8da7-411f-bf87-5981331f6d79" providerId="ADAL" clId="{02001320-137C-4484-A223-FE868F9AB1D1}" dt="2025-02-07T12:01:02.761" v="13281" actId="113"/>
          <ac:spMkLst>
            <pc:docMk/>
            <pc:sldMk cId="2205808248" sldId="834"/>
            <ac:spMk id="10" creationId="{BC1E18B5-6797-0815-60E1-36D3EBB1C080}"/>
          </ac:spMkLst>
        </pc:spChg>
        <pc:spChg chg="add del mod ord">
          <ac:chgData name="Josephine Steppat" userId="ad9ceb25-8da7-411f-bf87-5981331f6d79" providerId="ADAL" clId="{02001320-137C-4484-A223-FE868F9AB1D1}" dt="2025-01-31T13:16:09.121" v="2027"/>
          <ac:spMkLst>
            <pc:docMk/>
            <pc:sldMk cId="2205808248" sldId="834"/>
            <ac:spMk id="11" creationId="{0C6BE826-2637-36A4-1914-3D5CD0B3E186}"/>
          </ac:spMkLst>
        </pc:spChg>
        <pc:spChg chg="del">
          <ac:chgData name="Josephine Steppat" userId="ad9ceb25-8da7-411f-bf87-5981331f6d79" providerId="ADAL" clId="{02001320-137C-4484-A223-FE868F9AB1D1}" dt="2025-01-31T13:14:26.530" v="1977" actId="478"/>
          <ac:spMkLst>
            <pc:docMk/>
            <pc:sldMk cId="2205808248" sldId="834"/>
            <ac:spMk id="12" creationId="{5FBBD4C7-49A9-2EF6-B975-1F6DAB3F2870}"/>
          </ac:spMkLst>
        </pc:spChg>
        <pc:spChg chg="add del mod ord">
          <ac:chgData name="Josephine Steppat" userId="ad9ceb25-8da7-411f-bf87-5981331f6d79" providerId="ADAL" clId="{02001320-137C-4484-A223-FE868F9AB1D1}" dt="2025-01-31T13:16:55.782" v="2082" actId="478"/>
          <ac:spMkLst>
            <pc:docMk/>
            <pc:sldMk cId="2205808248" sldId="834"/>
            <ac:spMk id="14" creationId="{46B34476-BB16-B447-BECB-16A26DD482DB}"/>
          </ac:spMkLst>
        </pc:spChg>
        <pc:spChg chg="add del mod ord">
          <ac:chgData name="Josephine Steppat" userId="ad9ceb25-8da7-411f-bf87-5981331f6d79" providerId="ADAL" clId="{02001320-137C-4484-A223-FE868F9AB1D1}" dt="2025-01-31T13:14:54.050" v="1980" actId="478"/>
          <ac:spMkLst>
            <pc:docMk/>
            <pc:sldMk cId="2205808248" sldId="834"/>
            <ac:spMk id="15" creationId="{7B115FEB-991B-A9F6-7AAD-5A6B9B12220E}"/>
          </ac:spMkLst>
        </pc:spChg>
        <pc:spChg chg="add del mod ord">
          <ac:chgData name="Josephine Steppat" userId="ad9ceb25-8da7-411f-bf87-5981331f6d79" providerId="ADAL" clId="{02001320-137C-4484-A223-FE868F9AB1D1}" dt="2025-02-07T12:00:17.472" v="13270" actId="700"/>
          <ac:spMkLst>
            <pc:docMk/>
            <pc:sldMk cId="2205808248" sldId="834"/>
            <ac:spMk id="16" creationId="{1BCBCB11-FAA1-4B65-2CBC-838DAF068872}"/>
          </ac:spMkLst>
        </pc:spChg>
        <pc:spChg chg="add mod">
          <ac:chgData name="Josephine Steppat" userId="ad9ceb25-8da7-411f-bf87-5981331f6d79" providerId="ADAL" clId="{02001320-137C-4484-A223-FE868F9AB1D1}" dt="2025-01-31T13:17:21.772" v="2088" actId="1036"/>
          <ac:spMkLst>
            <pc:docMk/>
            <pc:sldMk cId="2205808248" sldId="834"/>
            <ac:spMk id="19" creationId="{9F0EFE69-F64C-79DA-AF2B-17D0CC37F8B0}"/>
          </ac:spMkLst>
        </pc:spChg>
        <pc:spChg chg="add mod ord">
          <ac:chgData name="Josephine Steppat" userId="ad9ceb25-8da7-411f-bf87-5981331f6d79" providerId="ADAL" clId="{02001320-137C-4484-A223-FE868F9AB1D1}" dt="2025-02-07T12:01:34.145" v="13284" actId="1076"/>
          <ac:spMkLst>
            <pc:docMk/>
            <pc:sldMk cId="2205808248" sldId="834"/>
            <ac:spMk id="20" creationId="{1BC1F2ED-DB7F-623B-8BED-C876E625A752}"/>
          </ac:spMkLst>
        </pc:spChg>
        <pc:graphicFrameChg chg="del">
          <ac:chgData name="Josephine Steppat" userId="ad9ceb25-8da7-411f-bf87-5981331f6d79" providerId="ADAL" clId="{02001320-137C-4484-A223-FE868F9AB1D1}" dt="2025-01-31T13:14:29.374" v="1978" actId="478"/>
          <ac:graphicFrameMkLst>
            <pc:docMk/>
            <pc:sldMk cId="2205808248" sldId="834"/>
            <ac:graphicFrameMk id="13" creationId="{8AC34BF8-5123-E2DE-851C-EE941B56827F}"/>
          </ac:graphicFrameMkLst>
        </pc:graphicFrameChg>
        <pc:graphicFrameChg chg="add mod ord">
          <ac:chgData name="Josephine Steppat" userId="ad9ceb25-8da7-411f-bf87-5981331f6d79" providerId="ADAL" clId="{02001320-137C-4484-A223-FE868F9AB1D1}" dt="2025-02-07T12:00:25.295" v="13273" actId="14100"/>
          <ac:graphicFrameMkLst>
            <pc:docMk/>
            <pc:sldMk cId="2205808248" sldId="834"/>
            <ac:graphicFrameMk id="17" creationId="{2C32789F-C47B-BCF8-CDC3-564CC84B0465}"/>
          </ac:graphicFrameMkLst>
        </pc:graphicFrameChg>
        <pc:graphicFrameChg chg="add mod ord">
          <ac:chgData name="Josephine Steppat" userId="ad9ceb25-8da7-411f-bf87-5981331f6d79" providerId="ADAL" clId="{02001320-137C-4484-A223-FE868F9AB1D1}" dt="2025-02-07T12:02:36.535" v="13287" actId="207"/>
          <ac:graphicFrameMkLst>
            <pc:docMk/>
            <pc:sldMk cId="2205808248" sldId="834"/>
            <ac:graphicFrameMk id="18" creationId="{8A6C3DA4-8E11-02D0-299F-8B8CD3DAAFB3}"/>
          </ac:graphicFrameMkLst>
        </pc:graphicFrameChg>
      </pc:sldChg>
      <pc:sldChg chg="addSp delSp modSp add mod modClrScheme chgLayout modNotesTx">
        <pc:chgData name="Josephine Steppat" userId="ad9ceb25-8da7-411f-bf87-5981331f6d79" providerId="ADAL" clId="{02001320-137C-4484-A223-FE868F9AB1D1}" dt="2025-02-07T12:08:16.301" v="13426" actId="1037"/>
        <pc:sldMkLst>
          <pc:docMk/>
          <pc:sldMk cId="1787178742" sldId="835"/>
        </pc:sldMkLst>
        <pc:spChg chg="del mod ord">
          <ac:chgData name="Josephine Steppat" userId="ad9ceb25-8da7-411f-bf87-5981331f6d79" providerId="ADAL" clId="{02001320-137C-4484-A223-FE868F9AB1D1}" dt="2025-02-07T12:03:02.710" v="13289" actId="700"/>
          <ac:spMkLst>
            <pc:docMk/>
            <pc:sldMk cId="1787178742" sldId="835"/>
            <ac:spMk id="2" creationId="{00000000-0000-0000-0000-000000000000}"/>
          </ac:spMkLst>
        </pc:spChg>
        <pc:spChg chg="del mod ord">
          <ac:chgData name="Josephine Steppat" userId="ad9ceb25-8da7-411f-bf87-5981331f6d79" providerId="ADAL" clId="{02001320-137C-4484-A223-FE868F9AB1D1}" dt="2025-02-07T12:03:25.390" v="13296" actId="478"/>
          <ac:spMkLst>
            <pc:docMk/>
            <pc:sldMk cId="1787178742" sldId="835"/>
            <ac:spMk id="3" creationId="{00000000-0000-0000-0000-000000000000}"/>
          </ac:spMkLst>
        </pc:spChg>
        <pc:spChg chg="del mod ord">
          <ac:chgData name="Josephine Steppat" userId="ad9ceb25-8da7-411f-bf87-5981331f6d79" providerId="ADAL" clId="{02001320-137C-4484-A223-FE868F9AB1D1}" dt="2025-02-07T12:03:22.931" v="13295" actId="478"/>
          <ac:spMkLst>
            <pc:docMk/>
            <pc:sldMk cId="1787178742" sldId="835"/>
            <ac:spMk id="4" creationId="{B0455A1F-E740-A462-02EC-A902B6B5D009}"/>
          </ac:spMkLst>
        </pc:spChg>
        <pc:spChg chg="mod ord">
          <ac:chgData name="Josephine Steppat" userId="ad9ceb25-8da7-411f-bf87-5981331f6d79" providerId="ADAL" clId="{02001320-137C-4484-A223-FE868F9AB1D1}" dt="2025-02-07T12:08:16.301" v="13426" actId="1037"/>
          <ac:spMkLst>
            <pc:docMk/>
            <pc:sldMk cId="1787178742" sldId="835"/>
            <ac:spMk id="5" creationId="{00000000-0000-0000-0000-000000000000}"/>
          </ac:spMkLst>
        </pc:spChg>
        <pc:spChg chg="del mod ord">
          <ac:chgData name="Josephine Steppat" userId="ad9ceb25-8da7-411f-bf87-5981331f6d79" providerId="ADAL" clId="{02001320-137C-4484-A223-FE868F9AB1D1}" dt="2025-02-07T12:03:29.023" v="13297" actId="478"/>
          <ac:spMkLst>
            <pc:docMk/>
            <pc:sldMk cId="1787178742" sldId="835"/>
            <ac:spMk id="6" creationId="{29968520-D199-1E29-5395-F839A14C586B}"/>
          </ac:spMkLst>
        </pc:spChg>
        <pc:spChg chg="add mod">
          <ac:chgData name="Josephine Steppat" userId="ad9ceb25-8da7-411f-bf87-5981331f6d79" providerId="ADAL" clId="{02001320-137C-4484-A223-FE868F9AB1D1}" dt="2025-02-07T12:08:05.421" v="13421"/>
          <ac:spMkLst>
            <pc:docMk/>
            <pc:sldMk cId="1787178742" sldId="835"/>
            <ac:spMk id="7" creationId="{91C64DE1-B9A1-9D66-5235-2A2434BEAACC}"/>
          </ac:spMkLst>
        </pc:spChg>
        <pc:spChg chg="add del mod">
          <ac:chgData name="Josephine Steppat" userId="ad9ceb25-8da7-411f-bf87-5981331f6d79" providerId="ADAL" clId="{02001320-137C-4484-A223-FE868F9AB1D1}" dt="2025-01-31T13:32:04.291" v="2302"/>
          <ac:spMkLst>
            <pc:docMk/>
            <pc:sldMk cId="1787178742" sldId="835"/>
            <ac:spMk id="8" creationId="{D32B35E8-5D08-9DA4-56C0-29A04107ADAF}"/>
          </ac:spMkLst>
        </pc:spChg>
        <pc:spChg chg="mod ord">
          <ac:chgData name="Josephine Steppat" userId="ad9ceb25-8da7-411f-bf87-5981331f6d79" providerId="ADAL" clId="{02001320-137C-4484-A223-FE868F9AB1D1}" dt="2025-02-07T12:03:41.481" v="13299" actId="1076"/>
          <ac:spMkLst>
            <pc:docMk/>
            <pc:sldMk cId="1787178742" sldId="835"/>
            <ac:spMk id="10" creationId="{BC1E18B5-6797-0815-60E1-36D3EBB1C080}"/>
          </ac:spMkLst>
        </pc:spChg>
        <pc:spChg chg="add del mod">
          <ac:chgData name="Josephine Steppat" userId="ad9ceb25-8da7-411f-bf87-5981331f6d79" providerId="ADAL" clId="{02001320-137C-4484-A223-FE868F9AB1D1}" dt="2025-01-31T13:33:02.856" v="2307"/>
          <ac:spMkLst>
            <pc:docMk/>
            <pc:sldMk cId="1787178742" sldId="835"/>
            <ac:spMk id="11" creationId="{3DE9183E-CF91-3F2F-E827-62DB139B638F}"/>
          </ac:spMkLst>
        </pc:spChg>
        <pc:spChg chg="del">
          <ac:chgData name="Josephine Steppat" userId="ad9ceb25-8da7-411f-bf87-5981331f6d79" providerId="ADAL" clId="{02001320-137C-4484-A223-FE868F9AB1D1}" dt="2025-02-07T12:03:02.710" v="13289" actId="700"/>
          <ac:spMkLst>
            <pc:docMk/>
            <pc:sldMk cId="1787178742" sldId="835"/>
            <ac:spMk id="16" creationId="{1BCBCB11-FAA1-4B65-2CBC-838DAF068872}"/>
          </ac:spMkLst>
        </pc:spChg>
        <pc:spChg chg="mod">
          <ac:chgData name="Josephine Steppat" userId="ad9ceb25-8da7-411f-bf87-5981331f6d79" providerId="ADAL" clId="{02001320-137C-4484-A223-FE868F9AB1D1}" dt="2025-02-07T12:04:06.490" v="13317" actId="20577"/>
          <ac:spMkLst>
            <pc:docMk/>
            <pc:sldMk cId="1787178742" sldId="835"/>
            <ac:spMk id="19" creationId="{9F0EFE69-F64C-79DA-AF2B-17D0CC37F8B0}"/>
          </ac:spMkLst>
        </pc:spChg>
        <pc:spChg chg="mod ord">
          <ac:chgData name="Josephine Steppat" userId="ad9ceb25-8da7-411f-bf87-5981331f6d79" providerId="ADAL" clId="{02001320-137C-4484-A223-FE868F9AB1D1}" dt="2025-02-07T12:04:13.161" v="13323" actId="20577"/>
          <ac:spMkLst>
            <pc:docMk/>
            <pc:sldMk cId="1787178742" sldId="835"/>
            <ac:spMk id="20" creationId="{1BC1F2ED-DB7F-623B-8BED-C876E625A752}"/>
          </ac:spMkLst>
        </pc:spChg>
        <pc:graphicFrameChg chg="add mod ord">
          <ac:chgData name="Josephine Steppat" userId="ad9ceb25-8da7-411f-bf87-5981331f6d79" providerId="ADAL" clId="{02001320-137C-4484-A223-FE868F9AB1D1}" dt="2025-02-07T12:03:15.127" v="13292" actId="14100"/>
          <ac:graphicFrameMkLst>
            <pc:docMk/>
            <pc:sldMk cId="1787178742" sldId="835"/>
            <ac:graphicFrameMk id="12" creationId="{4C09498E-52BE-CA9A-C6BF-6B50BC67FEA2}"/>
          </ac:graphicFrameMkLst>
        </pc:graphicFrameChg>
        <pc:graphicFrameChg chg="add mod ord">
          <ac:chgData name="Josephine Steppat" userId="ad9ceb25-8da7-411f-bf87-5981331f6d79" providerId="ADAL" clId="{02001320-137C-4484-A223-FE868F9AB1D1}" dt="2025-02-07T12:03:19.572" v="13294" actId="14100"/>
          <ac:graphicFrameMkLst>
            <pc:docMk/>
            <pc:sldMk cId="1787178742" sldId="835"/>
            <ac:graphicFrameMk id="13" creationId="{B799B915-D89B-4E09-879F-462633849068}"/>
          </ac:graphicFrameMkLst>
        </pc:graphicFrameChg>
        <pc:graphicFrameChg chg="del">
          <ac:chgData name="Josephine Steppat" userId="ad9ceb25-8da7-411f-bf87-5981331f6d79" providerId="ADAL" clId="{02001320-137C-4484-A223-FE868F9AB1D1}" dt="2025-01-31T13:18:07.169" v="2135" actId="478"/>
          <ac:graphicFrameMkLst>
            <pc:docMk/>
            <pc:sldMk cId="1787178742" sldId="835"/>
            <ac:graphicFrameMk id="17" creationId="{2C32789F-C47B-BCF8-CDC3-564CC84B0465}"/>
          </ac:graphicFrameMkLst>
        </pc:graphicFrameChg>
        <pc:graphicFrameChg chg="del">
          <ac:chgData name="Josephine Steppat" userId="ad9ceb25-8da7-411f-bf87-5981331f6d79" providerId="ADAL" clId="{02001320-137C-4484-A223-FE868F9AB1D1}" dt="2025-01-31T13:18:08.859" v="2136" actId="478"/>
          <ac:graphicFrameMkLst>
            <pc:docMk/>
            <pc:sldMk cId="1787178742" sldId="835"/>
            <ac:graphicFrameMk id="18" creationId="{8A6C3DA4-8E11-02D0-299F-8B8CD3DAAFB3}"/>
          </ac:graphicFrameMkLst>
        </pc:graphicFrameChg>
      </pc:sldChg>
      <pc:sldChg chg="addSp delSp modSp add mod modAnim modNotesTx">
        <pc:chgData name="Josephine Steppat" userId="ad9ceb25-8da7-411f-bf87-5981331f6d79" providerId="ADAL" clId="{02001320-137C-4484-A223-FE868F9AB1D1}" dt="2025-02-07T12:10:48.364" v="13459" actId="2711"/>
        <pc:sldMkLst>
          <pc:docMk/>
          <pc:sldMk cId="2370306193" sldId="836"/>
        </pc:sldMkLst>
        <pc:spChg chg="add del mod">
          <ac:chgData name="Josephine Steppat" userId="ad9ceb25-8da7-411f-bf87-5981331f6d79" providerId="ADAL" clId="{02001320-137C-4484-A223-FE868F9AB1D1}" dt="2025-01-31T13:43:27.882" v="2362" actId="478"/>
          <ac:spMkLst>
            <pc:docMk/>
            <pc:sldMk cId="2370306193" sldId="836"/>
            <ac:spMk id="2" creationId="{76F3CC8C-2298-D2B6-977C-919795A95313}"/>
          </ac:spMkLst>
        </pc:spChg>
        <pc:spChg chg="mod">
          <ac:chgData name="Josephine Steppat" userId="ad9ceb25-8da7-411f-bf87-5981331f6d79" providerId="ADAL" clId="{02001320-137C-4484-A223-FE868F9AB1D1}" dt="2025-02-07T12:10:48.364" v="13459" actId="2711"/>
          <ac:spMkLst>
            <pc:docMk/>
            <pc:sldMk cId="2370306193" sldId="836"/>
            <ac:spMk id="12" creationId="{643C024E-B4F0-9A8B-B12D-E1E982A26C80}"/>
          </ac:spMkLst>
        </pc:spChg>
        <pc:spChg chg="mod">
          <ac:chgData name="Josephine Steppat" userId="ad9ceb25-8da7-411f-bf87-5981331f6d79" providerId="ADAL" clId="{02001320-137C-4484-A223-FE868F9AB1D1}" dt="2025-02-07T12:10:25.798" v="13452" actId="20577"/>
          <ac:spMkLst>
            <pc:docMk/>
            <pc:sldMk cId="2370306193" sldId="836"/>
            <ac:spMk id="13" creationId="{DCEB4EA6-8AB5-2519-4D4C-5BE124B5FFC4}"/>
          </ac:spMkLst>
        </pc:spChg>
        <pc:spChg chg="mod">
          <ac:chgData name="Josephine Steppat" userId="ad9ceb25-8da7-411f-bf87-5981331f6d79" providerId="ADAL" clId="{02001320-137C-4484-A223-FE868F9AB1D1}" dt="2025-02-05T09:18:41.795" v="2639" actId="20577"/>
          <ac:spMkLst>
            <pc:docMk/>
            <pc:sldMk cId="2370306193" sldId="836"/>
            <ac:spMk id="34" creationId="{8832436A-E9A6-5F27-B865-9323240A33CD}"/>
          </ac:spMkLst>
        </pc:spChg>
        <pc:spChg chg="mod">
          <ac:chgData name="Josephine Steppat" userId="ad9ceb25-8da7-411f-bf87-5981331f6d79" providerId="ADAL" clId="{02001320-137C-4484-A223-FE868F9AB1D1}" dt="2025-02-05T09:18:27.844" v="2637" actId="20577"/>
          <ac:spMkLst>
            <pc:docMk/>
            <pc:sldMk cId="2370306193" sldId="836"/>
            <ac:spMk id="38" creationId="{619A2268-6938-DD4E-AAA6-BB2D98121155}"/>
          </ac:spMkLst>
        </pc:spChg>
        <pc:spChg chg="mod">
          <ac:chgData name="Josephine Steppat" userId="ad9ceb25-8da7-411f-bf87-5981331f6d79" providerId="ADAL" clId="{02001320-137C-4484-A223-FE868F9AB1D1}" dt="2025-02-05T09:18:54.133" v="2641" actId="6549"/>
          <ac:spMkLst>
            <pc:docMk/>
            <pc:sldMk cId="2370306193" sldId="836"/>
            <ac:spMk id="45" creationId="{652CE657-4652-3D87-A40D-79F248D0F65F}"/>
          </ac:spMkLst>
        </pc:spChg>
      </pc:sldChg>
      <pc:sldChg chg="modSp add mod modAnim modNotesTx">
        <pc:chgData name="Josephine Steppat" userId="ad9ceb25-8da7-411f-bf87-5981331f6d79" providerId="ADAL" clId="{02001320-137C-4484-A223-FE868F9AB1D1}" dt="2025-02-07T12:11:00.997" v="13461" actId="2711"/>
        <pc:sldMkLst>
          <pc:docMk/>
          <pc:sldMk cId="2857714571" sldId="837"/>
        </pc:sldMkLst>
        <pc:spChg chg="mod">
          <ac:chgData name="Josephine Steppat" userId="ad9ceb25-8da7-411f-bf87-5981331f6d79" providerId="ADAL" clId="{02001320-137C-4484-A223-FE868F9AB1D1}" dt="2025-02-07T12:11:00.997" v="13461" actId="2711"/>
          <ac:spMkLst>
            <pc:docMk/>
            <pc:sldMk cId="2857714571" sldId="837"/>
            <ac:spMk id="12" creationId="{643C024E-B4F0-9A8B-B12D-E1E982A26C80}"/>
          </ac:spMkLst>
        </pc:spChg>
        <pc:spChg chg="mod">
          <ac:chgData name="Josephine Steppat" userId="ad9ceb25-8da7-411f-bf87-5981331f6d79" providerId="ADAL" clId="{02001320-137C-4484-A223-FE868F9AB1D1}" dt="2025-02-07T12:10:37.078" v="13456" actId="20577"/>
          <ac:spMkLst>
            <pc:docMk/>
            <pc:sldMk cId="2857714571" sldId="837"/>
            <ac:spMk id="13" creationId="{DCEB4EA6-8AB5-2519-4D4C-5BE124B5FFC4}"/>
          </ac:spMkLst>
        </pc:spChg>
      </pc:sldChg>
      <pc:sldChg chg="addSp delSp modSp new mod modClrScheme chgLayout">
        <pc:chgData name="Josephine Steppat" userId="ad9ceb25-8da7-411f-bf87-5981331f6d79" providerId="ADAL" clId="{02001320-137C-4484-A223-FE868F9AB1D1}" dt="2025-01-31T13:59:14.743" v="2634" actId="255"/>
        <pc:sldMkLst>
          <pc:docMk/>
          <pc:sldMk cId="3115052316" sldId="838"/>
        </pc:sldMkLst>
        <pc:spChg chg="mod ord">
          <ac:chgData name="Josephine Steppat" userId="ad9ceb25-8da7-411f-bf87-5981331f6d79" providerId="ADAL" clId="{02001320-137C-4484-A223-FE868F9AB1D1}" dt="2025-01-31T13:59:14.743" v="2634" actId="255"/>
          <ac:spMkLst>
            <pc:docMk/>
            <pc:sldMk cId="3115052316" sldId="838"/>
            <ac:spMk id="2" creationId="{9CA58BD6-3817-6DF6-59F6-45A094751E48}"/>
          </ac:spMkLst>
        </pc:spChg>
        <pc:spChg chg="add del">
          <ac:chgData name="Josephine Steppat" userId="ad9ceb25-8da7-411f-bf87-5981331f6d79" providerId="ADAL" clId="{02001320-137C-4484-A223-FE868F9AB1D1}" dt="2025-01-31T13:49:53.051" v="2559" actId="26606"/>
          <ac:spMkLst>
            <pc:docMk/>
            <pc:sldMk cId="3115052316" sldId="838"/>
            <ac:spMk id="3" creationId="{2CF2486C-727F-4C26-59AD-EB7A36904578}"/>
          </ac:spMkLst>
        </pc:spChg>
        <pc:spChg chg="add del">
          <ac:chgData name="Josephine Steppat" userId="ad9ceb25-8da7-411f-bf87-5981331f6d79" providerId="ADAL" clId="{02001320-137C-4484-A223-FE868F9AB1D1}" dt="2025-01-31T13:49:53.051" v="2559" actId="26606"/>
          <ac:spMkLst>
            <pc:docMk/>
            <pc:sldMk cId="3115052316" sldId="838"/>
            <ac:spMk id="4" creationId="{F8AEBA29-8187-4028-263C-A6E200C37687}"/>
          </ac:spMkLst>
        </pc:spChg>
        <pc:spChg chg="del">
          <ac:chgData name="Josephine Steppat" userId="ad9ceb25-8da7-411f-bf87-5981331f6d79" providerId="ADAL" clId="{02001320-137C-4484-A223-FE868F9AB1D1}" dt="2025-01-31T13:49:32.896" v="2553" actId="931"/>
          <ac:spMkLst>
            <pc:docMk/>
            <pc:sldMk cId="3115052316" sldId="838"/>
            <ac:spMk id="5" creationId="{B696D82B-25C0-7185-872F-57A1DDAE2776}"/>
          </ac:spMkLst>
        </pc:spChg>
        <pc:spChg chg="add del">
          <ac:chgData name="Josephine Steppat" userId="ad9ceb25-8da7-411f-bf87-5981331f6d79" providerId="ADAL" clId="{02001320-137C-4484-A223-FE868F9AB1D1}" dt="2025-01-31T13:49:53.051" v="2559" actId="26606"/>
          <ac:spMkLst>
            <pc:docMk/>
            <pc:sldMk cId="3115052316" sldId="838"/>
            <ac:spMk id="6" creationId="{8482D914-A16C-87BF-B3C3-3D2EDE90B14C}"/>
          </ac:spMkLst>
        </pc:spChg>
        <pc:spChg chg="mod">
          <ac:chgData name="Josephine Steppat" userId="ad9ceb25-8da7-411f-bf87-5981331f6d79" providerId="ADAL" clId="{02001320-137C-4484-A223-FE868F9AB1D1}" dt="2025-01-31T13:49:53.051" v="2559" actId="26606"/>
          <ac:spMkLst>
            <pc:docMk/>
            <pc:sldMk cId="3115052316" sldId="838"/>
            <ac:spMk id="7" creationId="{972CC19E-0955-B393-1931-6E49B07E34B0}"/>
          </ac:spMkLst>
        </pc:spChg>
        <pc:spChg chg="add mod">
          <ac:chgData name="Josephine Steppat" userId="ad9ceb25-8da7-411f-bf87-5981331f6d79" providerId="ADAL" clId="{02001320-137C-4484-A223-FE868F9AB1D1}" dt="2025-01-31T13:49:53.051" v="2559" actId="26606"/>
          <ac:spMkLst>
            <pc:docMk/>
            <pc:sldMk cId="3115052316" sldId="838"/>
            <ac:spMk id="11" creationId="{D40FCEF2-5FB7-D688-F1D3-B37C2A46ABF4}"/>
          </ac:spMkLst>
        </pc:spChg>
        <pc:spChg chg="add mod">
          <ac:chgData name="Josephine Steppat" userId="ad9ceb25-8da7-411f-bf87-5981331f6d79" providerId="ADAL" clId="{02001320-137C-4484-A223-FE868F9AB1D1}" dt="2025-01-31T13:50:05.121" v="2561" actId="478"/>
          <ac:spMkLst>
            <pc:docMk/>
            <pc:sldMk cId="3115052316" sldId="838"/>
            <ac:spMk id="13" creationId="{9066476C-25EC-FB9B-3F19-EE7BF9C5D0EA}"/>
          </ac:spMkLst>
        </pc:spChg>
        <pc:spChg chg="add del mod">
          <ac:chgData name="Josephine Steppat" userId="ad9ceb25-8da7-411f-bf87-5981331f6d79" providerId="ADAL" clId="{02001320-137C-4484-A223-FE868F9AB1D1}" dt="2025-01-31T13:49:46.413" v="2558" actId="26606"/>
          <ac:spMkLst>
            <pc:docMk/>
            <pc:sldMk cId="3115052316" sldId="838"/>
            <ac:spMk id="14" creationId="{50209B67-C6E5-DC83-F8C6-93348F0E0B7D}"/>
          </ac:spMkLst>
        </pc:spChg>
        <pc:spChg chg="add del mod">
          <ac:chgData name="Josephine Steppat" userId="ad9ceb25-8da7-411f-bf87-5981331f6d79" providerId="ADAL" clId="{02001320-137C-4484-A223-FE868F9AB1D1}" dt="2025-01-31T13:50:02.918" v="2560"/>
          <ac:spMkLst>
            <pc:docMk/>
            <pc:sldMk cId="3115052316" sldId="838"/>
            <ac:spMk id="16" creationId="{7F2DB59C-7F92-C1E6-D1F6-A4F512B57A35}"/>
          </ac:spMkLst>
        </pc:spChg>
        <pc:spChg chg="add mod">
          <ac:chgData name="Josephine Steppat" userId="ad9ceb25-8da7-411f-bf87-5981331f6d79" providerId="ADAL" clId="{02001320-137C-4484-A223-FE868F9AB1D1}" dt="2025-01-31T13:49:53.051" v="2559" actId="26606"/>
          <ac:spMkLst>
            <pc:docMk/>
            <pc:sldMk cId="3115052316" sldId="838"/>
            <ac:spMk id="18" creationId="{8CF2F0EE-38F9-2E36-EA87-993BEFCAF901}"/>
          </ac:spMkLst>
        </pc:spChg>
        <pc:picChg chg="add del mod">
          <ac:chgData name="Josephine Steppat" userId="ad9ceb25-8da7-411f-bf87-5981331f6d79" providerId="ADAL" clId="{02001320-137C-4484-A223-FE868F9AB1D1}" dt="2025-01-31T13:50:05.121" v="2561" actId="478"/>
          <ac:picMkLst>
            <pc:docMk/>
            <pc:sldMk cId="3115052316" sldId="838"/>
            <ac:picMk id="9" creationId="{BF80A479-446F-C58A-6272-EFA8C95FA87D}"/>
          </ac:picMkLst>
        </pc:picChg>
        <pc:picChg chg="add mod">
          <ac:chgData name="Josephine Steppat" userId="ad9ceb25-8da7-411f-bf87-5981331f6d79" providerId="ADAL" clId="{02001320-137C-4484-A223-FE868F9AB1D1}" dt="2025-01-31T13:50:32.173" v="2564" actId="1076"/>
          <ac:picMkLst>
            <pc:docMk/>
            <pc:sldMk cId="3115052316" sldId="838"/>
            <ac:picMk id="10" creationId="{68943A61-5728-A4D6-B579-1F139D586351}"/>
          </ac:picMkLst>
        </pc:picChg>
      </pc:sldChg>
      <pc:sldChg chg="add del">
        <pc:chgData name="Josephine Steppat" userId="ad9ceb25-8da7-411f-bf87-5981331f6d79" providerId="ADAL" clId="{02001320-137C-4484-A223-FE868F9AB1D1}" dt="2025-02-07T12:02:55.611" v="13288" actId="47"/>
        <pc:sldMkLst>
          <pc:docMk/>
          <pc:sldMk cId="2086089174" sldId="839"/>
        </pc:sldMkLst>
      </pc:sldChg>
      <pc:sldMasterChg chg="delSldLayout">
        <pc:chgData name="Josephine Steppat" userId="ad9ceb25-8da7-411f-bf87-5981331f6d79" providerId="ADAL" clId="{02001320-137C-4484-A223-FE868F9AB1D1}" dt="2025-02-06T12:12:46.991" v="13264" actId="47"/>
        <pc:sldMasterMkLst>
          <pc:docMk/>
          <pc:sldMasterMk cId="267563118" sldId="2147483648"/>
        </pc:sldMasterMkLst>
        <pc:sldLayoutChg chg="del">
          <pc:chgData name="Josephine Steppat" userId="ad9ceb25-8da7-411f-bf87-5981331f6d79" providerId="ADAL" clId="{02001320-137C-4484-A223-FE868F9AB1D1}" dt="2025-01-31T13:05:31.471" v="1544" actId="47"/>
          <pc:sldLayoutMkLst>
            <pc:docMk/>
            <pc:sldMasterMk cId="267563118" sldId="2147483648"/>
            <pc:sldLayoutMk cId="4157740337" sldId="2147483788"/>
          </pc:sldLayoutMkLst>
        </pc:sldLayoutChg>
        <pc:sldLayoutChg chg="del">
          <pc:chgData name="Josephine Steppat" userId="ad9ceb25-8da7-411f-bf87-5981331f6d79" providerId="ADAL" clId="{02001320-137C-4484-A223-FE868F9AB1D1}" dt="2025-01-31T13:17:43.393" v="2097" actId="47"/>
          <pc:sldLayoutMkLst>
            <pc:docMk/>
            <pc:sldMasterMk cId="267563118" sldId="2147483648"/>
            <pc:sldLayoutMk cId="227582090" sldId="2147483791"/>
          </pc:sldLayoutMkLst>
        </pc:sldLayoutChg>
        <pc:sldLayoutChg chg="del">
          <pc:chgData name="Josephine Steppat" userId="ad9ceb25-8da7-411f-bf87-5981331f6d79" providerId="ADAL" clId="{02001320-137C-4484-A223-FE868F9AB1D1}" dt="2025-02-06T12:12:46.991" v="13264" actId="47"/>
          <pc:sldLayoutMkLst>
            <pc:docMk/>
            <pc:sldMasterMk cId="267563118" sldId="2147483648"/>
            <pc:sldLayoutMk cId="1722017392" sldId="2147483792"/>
          </pc:sldLayoutMkLst>
        </pc:sldLayoutChg>
      </pc:sldMasterChg>
      <pc:sldMasterChg chg="delSldLayout">
        <pc:chgData name="Josephine Steppat" userId="ad9ceb25-8da7-411f-bf87-5981331f6d79" providerId="ADAL" clId="{02001320-137C-4484-A223-FE868F9AB1D1}" dt="2025-01-31T13:45:27.532" v="2427" actId="47"/>
        <pc:sldMasterMkLst>
          <pc:docMk/>
          <pc:sldMasterMk cId="2133899516" sldId="2147483661"/>
        </pc:sldMasterMkLst>
        <pc:sldLayoutChg chg="del">
          <pc:chgData name="Josephine Steppat" userId="ad9ceb25-8da7-411f-bf87-5981331f6d79" providerId="ADAL" clId="{02001320-137C-4484-A223-FE868F9AB1D1}" dt="2025-01-31T13:45:27.532" v="2427" actId="47"/>
          <pc:sldLayoutMkLst>
            <pc:docMk/>
            <pc:sldMasterMk cId="2133899516" sldId="2147483661"/>
            <pc:sldLayoutMk cId="1323766103" sldId="2147483778"/>
          </pc:sldLayoutMkLst>
        </pc:sldLayoutChg>
      </pc:sldMasterChg>
    </pc:docChg>
  </pc:docChgLst>
  <pc:docChgLst>
    <pc:chgData name="Josephine Steppat" userId="S::josephine.steppat@montel.energy::ad9ceb25-8da7-411f-bf87-5981331f6d79" providerId="AD" clId="Web-{4196197E-9BAB-74A0-6FC3-D2F405609283}"/>
    <pc:docChg chg="modSld">
      <pc:chgData name="Josephine Steppat" userId="S::josephine.steppat@montel.energy::ad9ceb25-8da7-411f-bf87-5981331f6d79" providerId="AD" clId="Web-{4196197E-9BAB-74A0-6FC3-D2F405609283}" dt="2025-02-09T13:53:32.677" v="13"/>
      <pc:docMkLst>
        <pc:docMk/>
      </pc:docMkLst>
      <pc:sldChg chg="delAnim">
        <pc:chgData name="Josephine Steppat" userId="S::josephine.steppat@montel.energy::ad9ceb25-8da7-411f-bf87-5981331f6d79" providerId="AD" clId="Web-{4196197E-9BAB-74A0-6FC3-D2F405609283}" dt="2025-02-09T13:52:13.689" v="6"/>
        <pc:sldMkLst>
          <pc:docMk/>
          <pc:sldMk cId="920877821" sldId="264"/>
        </pc:sldMkLst>
      </pc:sldChg>
      <pc:sldChg chg="delSp modSp delAnim">
        <pc:chgData name="Josephine Steppat" userId="S::josephine.steppat@montel.energy::ad9ceb25-8da7-411f-bf87-5981331f6d79" providerId="AD" clId="Web-{4196197E-9BAB-74A0-6FC3-D2F405609283}" dt="2025-02-09T13:50:46.201" v="1"/>
        <pc:sldMkLst>
          <pc:docMk/>
          <pc:sldMk cId="1427027924" sldId="824"/>
        </pc:sldMkLst>
        <pc:spChg chg="del mod">
          <ac:chgData name="Josephine Steppat" userId="S::josephine.steppat@montel.energy::ad9ceb25-8da7-411f-bf87-5981331f6d79" providerId="AD" clId="Web-{4196197E-9BAB-74A0-6FC3-D2F405609283}" dt="2025-02-09T13:50:46.201" v="1"/>
          <ac:spMkLst>
            <pc:docMk/>
            <pc:sldMk cId="1427027924" sldId="824"/>
            <ac:spMk id="9" creationId="{D3C27360-9769-5226-0949-C02214DEE9C4}"/>
          </ac:spMkLst>
        </pc:spChg>
      </pc:sldChg>
      <pc:sldChg chg="delAnim">
        <pc:chgData name="Josephine Steppat" userId="S::josephine.steppat@montel.energy::ad9ceb25-8da7-411f-bf87-5981331f6d79" providerId="AD" clId="Web-{4196197E-9BAB-74A0-6FC3-D2F405609283}" dt="2025-02-09T13:53:32.677" v="13"/>
        <pc:sldMkLst>
          <pc:docMk/>
          <pc:sldMk cId="72255503" sldId="825"/>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BE-SRV-02\Projekte_intern\EB%20(Analysen%20-%20eigene)\POWER_SPOT_DA_negative_Preise.xlsb"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4-11-05_Windenergietage/Extrempreise/2024-10_Analyse%20negative%20Preise%202024.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5-02-11%20E-World/Nettostromerzeugung/Microsoft%20Excel-Arbeitsblatt%20(neu).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5-02-11%20E-World/Nettostromerzeugung/Microsoft%20Excel-Arbeitsblatt%20(neu).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5-02-11%20E-World/Microsoft%20Excel-Arbeitsblatt%20(neu).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5-02-11%20E-World/Microsoft%20Excel-Arbeitsblatt%20(neu).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https://montelno-my.sharepoint.com/personal/matthis_brinkhaus_montelgroup_com/Documents/Desktop/2024-09-18_Webinar-Flexibility-in-Scenarios_MaB/flex-scenarios_base.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0361408149051789E-2"/>
          <c:y val="3.4980629775523221E-2"/>
          <c:w val="0.81473251173237593"/>
          <c:h val="0.78999871409780287"/>
        </c:manualLayout>
      </c:layout>
      <c:barChart>
        <c:barDir val="col"/>
        <c:grouping val="clustered"/>
        <c:varyColors val="0"/>
        <c:ser>
          <c:idx val="0"/>
          <c:order val="0"/>
          <c:tx>
            <c:strRef>
              <c:f>Daten_DB!$I$2</c:f>
              <c:strCache>
                <c:ptCount val="1"/>
                <c:pt idx="0">
                  <c:v>Anzahl negativer Preise</c:v>
                </c:pt>
              </c:strCache>
            </c:strRef>
          </c:tx>
          <c:invertIfNegative val="0"/>
          <c:dLbls>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Daten_DB!$Q$1:$AF$1</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Daten_DB!$Q$2:$AF$2</c:f>
              <c:numCache>
                <c:formatCode>General</c:formatCode>
                <c:ptCount val="16"/>
                <c:pt idx="0">
                  <c:v>30</c:v>
                </c:pt>
                <c:pt idx="1">
                  <c:v>142</c:v>
                </c:pt>
                <c:pt idx="2">
                  <c:v>22</c:v>
                </c:pt>
                <c:pt idx="3">
                  <c:v>15</c:v>
                </c:pt>
                <c:pt idx="4">
                  <c:v>56</c:v>
                </c:pt>
                <c:pt idx="5">
                  <c:v>64</c:v>
                </c:pt>
                <c:pt idx="6">
                  <c:v>64</c:v>
                </c:pt>
                <c:pt idx="7">
                  <c:v>126</c:v>
                </c:pt>
                <c:pt idx="8">
                  <c:v>97</c:v>
                </c:pt>
                <c:pt idx="9">
                  <c:v>146</c:v>
                </c:pt>
                <c:pt idx="10">
                  <c:v>134</c:v>
                </c:pt>
                <c:pt idx="11">
                  <c:v>211</c:v>
                </c:pt>
                <c:pt idx="12">
                  <c:v>298</c:v>
                </c:pt>
                <c:pt idx="13">
                  <c:v>139</c:v>
                </c:pt>
                <c:pt idx="14">
                  <c:v>69</c:v>
                </c:pt>
                <c:pt idx="15">
                  <c:v>301</c:v>
                </c:pt>
              </c:numCache>
            </c:numRef>
          </c:val>
          <c:extLst>
            <c:ext xmlns:c16="http://schemas.microsoft.com/office/drawing/2014/chart" uri="{C3380CC4-5D6E-409C-BE32-E72D297353CC}">
              <c16:uniqueId val="{00000000-097D-42CD-B1A9-11E67B760AB9}"/>
            </c:ext>
          </c:extLst>
        </c:ser>
        <c:dLbls>
          <c:dLblPos val="outEnd"/>
          <c:showLegendKey val="0"/>
          <c:showVal val="1"/>
          <c:showCatName val="0"/>
          <c:showSerName val="0"/>
          <c:showPercent val="0"/>
          <c:showBubbleSize val="0"/>
        </c:dLbls>
        <c:gapWidth val="250"/>
        <c:axId val="119386496"/>
        <c:axId val="250001664"/>
      </c:barChart>
      <c:barChart>
        <c:barDir val="col"/>
        <c:grouping val="clustered"/>
        <c:varyColors val="0"/>
        <c:ser>
          <c:idx val="1"/>
          <c:order val="1"/>
          <c:tx>
            <c:strRef>
              <c:f>Daten_DB!$I$3</c:f>
              <c:strCache>
                <c:ptCount val="1"/>
                <c:pt idx="0">
                  <c:v>Durchschnittlicher negativer Preis [EUR/MWh]</c:v>
                </c:pt>
              </c:strCache>
            </c:strRef>
          </c:tx>
          <c:invertIfNegative val="0"/>
          <c:dLbls>
            <c:numFmt formatCode="#,##0.0" sourceLinked="0"/>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Daten_DB!$Q$1:$AF$1</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Daten_DB!$Q$3:$AF$3</c:f>
              <c:numCache>
                <c:formatCode>0.00</c:formatCode>
                <c:ptCount val="16"/>
                <c:pt idx="0">
                  <c:v>-28.596666666666668</c:v>
                </c:pt>
                <c:pt idx="1">
                  <c:v>-44.095915492957729</c:v>
                </c:pt>
                <c:pt idx="2">
                  <c:v>-4.289545454545455</c:v>
                </c:pt>
                <c:pt idx="3">
                  <c:v>-10.098666666666666</c:v>
                </c:pt>
                <c:pt idx="4">
                  <c:v>-60.51160714285713</c:v>
                </c:pt>
                <c:pt idx="5">
                  <c:v>-14.166406250000001</c:v>
                </c:pt>
                <c:pt idx="6">
                  <c:v>-15.554687500000004</c:v>
                </c:pt>
                <c:pt idx="7">
                  <c:v>-9.0009523809523788</c:v>
                </c:pt>
                <c:pt idx="8">
                  <c:v>-17.809484536082472</c:v>
                </c:pt>
                <c:pt idx="9">
                  <c:v>-26.469041095890411</c:v>
                </c:pt>
                <c:pt idx="10">
                  <c:v>-13.072260273972606</c:v>
                </c:pt>
                <c:pt idx="11">
                  <c:v>-18.031766381766385</c:v>
                </c:pt>
                <c:pt idx="12">
                  <c:v>-15.507315436241621</c:v>
                </c:pt>
                <c:pt idx="13">
                  <c:v>-16.357410071942454</c:v>
                </c:pt>
                <c:pt idx="14">
                  <c:v>-2.0818840579710138</c:v>
                </c:pt>
                <c:pt idx="15">
                  <c:v>-12.865880398671111</c:v>
                </c:pt>
              </c:numCache>
            </c:numRef>
          </c:val>
          <c:extLst>
            <c:ext xmlns:c16="http://schemas.microsoft.com/office/drawing/2014/chart" uri="{C3380CC4-5D6E-409C-BE32-E72D297353CC}">
              <c16:uniqueId val="{00000001-097D-42CD-B1A9-11E67B760AB9}"/>
            </c:ext>
          </c:extLst>
        </c:ser>
        <c:ser>
          <c:idx val="2"/>
          <c:order val="2"/>
          <c:tx>
            <c:strRef>
              <c:f>Daten_DB!$I$4</c:f>
              <c:strCache>
                <c:ptCount val="1"/>
                <c:pt idx="0">
                  <c:v>Minimaler negativer Preis [EUR/MWh]</c:v>
                </c:pt>
              </c:strCache>
            </c:strRef>
          </c:tx>
          <c:invertIfNegative val="0"/>
          <c:dLbls>
            <c:dLbl>
              <c:idx val="2"/>
              <c:layout>
                <c:manualLayout>
                  <c:x val="0"/>
                  <c:y val="-2.113265014415129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97D-42CD-B1A9-11E67B760AB9}"/>
                </c:ext>
              </c:extLst>
            </c:dLbl>
            <c:dLbl>
              <c:idx val="3"/>
              <c:layout>
                <c:manualLayout>
                  <c:x val="5.0077206965938889E-17"/>
                  <c:y val="-1.47928551009059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97D-42CD-B1A9-11E67B760AB9}"/>
                </c:ext>
              </c:extLst>
            </c:dLbl>
            <c:dLbl>
              <c:idx val="14"/>
              <c:layout>
                <c:manualLayout>
                  <c:x val="1.3654618992048281E-3"/>
                  <c:y val="-1.4789171132669102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97D-42CD-B1A9-11E67B760AB9}"/>
                </c:ext>
              </c:extLst>
            </c:dLbl>
            <c:dLbl>
              <c:idx val="15"/>
              <c:layout>
                <c:manualLayout>
                  <c:x val="-1.0013271586667571E-16"/>
                  <c:y val="-2.535286479886144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97D-42CD-B1A9-11E67B760AB9}"/>
                </c:ext>
              </c:extLst>
            </c:dLbl>
            <c:numFmt formatCode="#,##0" sourceLinked="0"/>
            <c:spPr>
              <a:noFill/>
              <a:ln>
                <a:noFill/>
              </a:ln>
              <a:effectLst/>
            </c:spPr>
            <c:txPr>
              <a:bodyPr wrap="square" lIns="38100" tIns="19050" rIns="38100" bIns="19050" anchor="ctr">
                <a:spAutoFit/>
              </a:bodyPr>
              <a:lstStyle/>
              <a:p>
                <a:pPr>
                  <a:defRPr sz="1200"/>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Daten_DB!$Q$1:$AF$1</c:f>
              <c:numCache>
                <c:formatCode>General</c:formatCode>
                <c:ptCount val="16"/>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numCache>
            </c:numRef>
          </c:cat>
          <c:val>
            <c:numRef>
              <c:f>Daten_DB!$Q$4:$AF$4</c:f>
              <c:numCache>
                <c:formatCode>General</c:formatCode>
                <c:ptCount val="16"/>
                <c:pt idx="0">
                  <c:v>-101.52</c:v>
                </c:pt>
                <c:pt idx="1">
                  <c:v>-500.02</c:v>
                </c:pt>
                <c:pt idx="2">
                  <c:v>-20.45</c:v>
                </c:pt>
                <c:pt idx="3">
                  <c:v>-36.82</c:v>
                </c:pt>
                <c:pt idx="4">
                  <c:v>-221.99</c:v>
                </c:pt>
                <c:pt idx="5">
                  <c:v>-100.03</c:v>
                </c:pt>
                <c:pt idx="6">
                  <c:v>-65.03</c:v>
                </c:pt>
                <c:pt idx="7">
                  <c:v>-79.94</c:v>
                </c:pt>
                <c:pt idx="8">
                  <c:v>-130.09</c:v>
                </c:pt>
                <c:pt idx="9">
                  <c:v>-83.06</c:v>
                </c:pt>
                <c:pt idx="10">
                  <c:v>-76.010000000000005</c:v>
                </c:pt>
                <c:pt idx="11">
                  <c:v>-90.01</c:v>
                </c:pt>
                <c:pt idx="12">
                  <c:v>-83.94</c:v>
                </c:pt>
                <c:pt idx="13">
                  <c:v>-69</c:v>
                </c:pt>
                <c:pt idx="14">
                  <c:v>-19.04</c:v>
                </c:pt>
                <c:pt idx="15">
                  <c:v>-500</c:v>
                </c:pt>
              </c:numCache>
            </c:numRef>
          </c:val>
          <c:extLst>
            <c:ext xmlns:c16="http://schemas.microsoft.com/office/drawing/2014/chart" uri="{C3380CC4-5D6E-409C-BE32-E72D297353CC}">
              <c16:uniqueId val="{00000006-097D-42CD-B1A9-11E67B760AB9}"/>
            </c:ext>
          </c:extLst>
        </c:ser>
        <c:dLbls>
          <c:showLegendKey val="0"/>
          <c:showVal val="0"/>
          <c:showCatName val="0"/>
          <c:showSerName val="0"/>
          <c:showPercent val="0"/>
          <c:showBubbleSize val="0"/>
        </c:dLbls>
        <c:gapWidth val="250"/>
        <c:axId val="119394304"/>
        <c:axId val="119388032"/>
      </c:barChart>
      <c:valAx>
        <c:axId val="250001664"/>
        <c:scaling>
          <c:orientation val="minMax"/>
          <c:min val="-600"/>
        </c:scaling>
        <c:delete val="0"/>
        <c:axPos val="r"/>
        <c:title>
          <c:tx>
            <c:rich>
              <a:bodyPr rot="-5400000" vert="horz"/>
              <a:lstStyle/>
              <a:p>
                <a:pPr>
                  <a:defRPr sz="1200" b="0"/>
                </a:pPr>
                <a:r>
                  <a:rPr lang="de-DE" sz="1200" b="0" dirty="0"/>
                  <a:t>Number</a:t>
                </a:r>
              </a:p>
            </c:rich>
          </c:tx>
          <c:layout>
            <c:manualLayout>
              <c:xMode val="edge"/>
              <c:yMode val="edge"/>
              <c:x val="0.96622165225314049"/>
              <c:y val="7.6278006091846692E-2"/>
            </c:manualLayout>
          </c:layout>
          <c:overlay val="0"/>
        </c:title>
        <c:numFmt formatCode="General" sourceLinked="1"/>
        <c:majorTickMark val="out"/>
        <c:minorTickMark val="none"/>
        <c:tickLblPos val="nextTo"/>
        <c:spPr>
          <a:ln>
            <a:solidFill>
              <a:sysClr val="windowText" lastClr="000000"/>
            </a:solidFill>
          </a:ln>
        </c:spPr>
        <c:txPr>
          <a:bodyPr/>
          <a:lstStyle/>
          <a:p>
            <a:pPr>
              <a:defRPr sz="1200"/>
            </a:pPr>
            <a:endParaRPr lang="de-DE"/>
          </a:p>
        </c:txPr>
        <c:crossAx val="119386496"/>
        <c:crosses val="max"/>
        <c:crossBetween val="between"/>
      </c:valAx>
      <c:catAx>
        <c:axId val="119386496"/>
        <c:scaling>
          <c:orientation val="minMax"/>
        </c:scaling>
        <c:delete val="0"/>
        <c:axPos val="b"/>
        <c:numFmt formatCode="General" sourceLinked="1"/>
        <c:majorTickMark val="out"/>
        <c:minorTickMark val="none"/>
        <c:tickLblPos val="low"/>
        <c:spPr>
          <a:ln>
            <a:solidFill>
              <a:sysClr val="windowText" lastClr="000000"/>
            </a:solidFill>
          </a:ln>
        </c:spPr>
        <c:txPr>
          <a:bodyPr/>
          <a:lstStyle/>
          <a:p>
            <a:pPr>
              <a:defRPr sz="1200"/>
            </a:pPr>
            <a:endParaRPr lang="de-DE"/>
          </a:p>
        </c:txPr>
        <c:crossAx val="250001664"/>
        <c:crosses val="autoZero"/>
        <c:auto val="1"/>
        <c:lblAlgn val="ctr"/>
        <c:lblOffset val="100"/>
        <c:noMultiLvlLbl val="0"/>
      </c:catAx>
      <c:valAx>
        <c:axId val="119388032"/>
        <c:scaling>
          <c:orientation val="minMax"/>
          <c:max val="400"/>
        </c:scaling>
        <c:delete val="0"/>
        <c:axPos val="l"/>
        <c:title>
          <c:tx>
            <c:rich>
              <a:bodyPr rot="-5400000" vert="horz"/>
              <a:lstStyle/>
              <a:p>
                <a:pPr>
                  <a:defRPr sz="1200" b="0"/>
                </a:pPr>
                <a:r>
                  <a:rPr lang="de-DE" sz="1200" b="0" dirty="0"/>
                  <a:t>Price in EUR/MWh</a:t>
                </a:r>
              </a:p>
            </c:rich>
          </c:tx>
          <c:overlay val="0"/>
        </c:title>
        <c:numFmt formatCode="0" sourceLinked="0"/>
        <c:majorTickMark val="out"/>
        <c:minorTickMark val="none"/>
        <c:tickLblPos val="low"/>
        <c:spPr>
          <a:ln>
            <a:solidFill>
              <a:sysClr val="windowText" lastClr="000000"/>
            </a:solidFill>
          </a:ln>
        </c:spPr>
        <c:txPr>
          <a:bodyPr/>
          <a:lstStyle/>
          <a:p>
            <a:pPr>
              <a:defRPr sz="1200"/>
            </a:pPr>
            <a:endParaRPr lang="de-DE"/>
          </a:p>
        </c:txPr>
        <c:crossAx val="119394304"/>
        <c:crosses val="autoZero"/>
        <c:crossBetween val="between"/>
      </c:valAx>
      <c:catAx>
        <c:axId val="119394304"/>
        <c:scaling>
          <c:orientation val="minMax"/>
        </c:scaling>
        <c:delete val="1"/>
        <c:axPos val="b"/>
        <c:numFmt formatCode="General" sourceLinked="1"/>
        <c:majorTickMark val="out"/>
        <c:minorTickMark val="none"/>
        <c:tickLblPos val="nextTo"/>
        <c:crossAx val="119388032"/>
        <c:crossesAt val="0"/>
        <c:auto val="1"/>
        <c:lblAlgn val="ctr"/>
        <c:lblOffset val="100"/>
        <c:noMultiLvlLbl val="0"/>
      </c:catAx>
    </c:plotArea>
    <c:legend>
      <c:legendPos val="b"/>
      <c:layout>
        <c:manualLayout>
          <c:xMode val="edge"/>
          <c:yMode val="edge"/>
          <c:x val="0.10604191208382417"/>
          <c:y val="0.88176479339662672"/>
          <c:w val="0.78791617583235163"/>
          <c:h val="0.1154360463514489"/>
        </c:manualLayout>
      </c:layout>
      <c:overlay val="0"/>
      <c:txPr>
        <a:bodyPr/>
        <a:lstStyle/>
        <a:p>
          <a:pPr>
            <a:defRPr sz="1200"/>
          </a:pPr>
          <a:endParaRPr lang="de-DE"/>
        </a:p>
      </c:txPr>
    </c:legend>
    <c:plotVisOnly val="1"/>
    <c:dispBlanksAs val="gap"/>
    <c:showDLblsOverMax val="0"/>
  </c:chart>
  <c:spPr>
    <a:ln>
      <a:noFill/>
    </a:ln>
  </c:spPr>
  <c:txPr>
    <a:bodyPr/>
    <a:lstStyle/>
    <a:p>
      <a:pPr>
        <a:defRPr sz="1400">
          <a:latin typeface="PT Sans" panose="020B0503020203020204" pitchFamily="34" charset="0"/>
          <a:ea typeface="PT Sans" panose="020B0503020203020204" pitchFamily="34" charset="0"/>
        </a:defRPr>
      </a:pPr>
      <a:endParaRPr lang="de-DE"/>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DE" baseline="0" dirty="0"/>
              <a:t>Number of negative prices in Germany</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clustered"/>
        <c:varyColors val="0"/>
        <c:ser>
          <c:idx val="0"/>
          <c:order val="0"/>
          <c:tx>
            <c:strRef>
              <c:f>'[2024-10_Analyse negative Preise 2024.xlsx]Grafiken'!$C$2</c:f>
              <c:strCache>
                <c:ptCount val="1"/>
                <c:pt idx="0">
                  <c:v>Jan</c:v>
                </c:pt>
              </c:strCache>
            </c:strRef>
          </c:tx>
          <c:spPr>
            <a:solidFill>
              <a:schemeClr val="accent1"/>
            </a:solidFill>
            <a:ln>
              <a:noFill/>
            </a:ln>
            <a:effectLst/>
          </c:spPr>
          <c:invertIfNegative val="0"/>
          <c:val>
            <c:numRef>
              <c:f>'[2024-10_Analyse negative Preise 2024.xlsx]Grafiken'!$D$2</c:f>
              <c:numCache>
                <c:formatCode>General</c:formatCode>
                <c:ptCount val="1"/>
                <c:pt idx="0">
                  <c:v>14</c:v>
                </c:pt>
              </c:numCache>
            </c:numRef>
          </c:val>
          <c:extLst>
            <c:ext xmlns:c16="http://schemas.microsoft.com/office/drawing/2014/chart" uri="{C3380CC4-5D6E-409C-BE32-E72D297353CC}">
              <c16:uniqueId val="{00000000-E5BA-41A7-A755-62989C571E70}"/>
            </c:ext>
          </c:extLst>
        </c:ser>
        <c:ser>
          <c:idx val="1"/>
          <c:order val="1"/>
          <c:tx>
            <c:strRef>
              <c:f>'[2024-10_Analyse negative Preise 2024.xlsx]Grafiken'!$C$3</c:f>
              <c:strCache>
                <c:ptCount val="1"/>
                <c:pt idx="0">
                  <c:v>Feb</c:v>
                </c:pt>
              </c:strCache>
            </c:strRef>
          </c:tx>
          <c:spPr>
            <a:solidFill>
              <a:schemeClr val="accent2"/>
            </a:solidFill>
            <a:ln>
              <a:noFill/>
            </a:ln>
            <a:effectLst/>
          </c:spPr>
          <c:invertIfNegative val="0"/>
          <c:val>
            <c:numRef>
              <c:f>'[2024-10_Analyse negative Preise 2024.xlsx]Grafiken'!$D$3</c:f>
              <c:numCache>
                <c:formatCode>General</c:formatCode>
                <c:ptCount val="1"/>
                <c:pt idx="0">
                  <c:v>4</c:v>
                </c:pt>
              </c:numCache>
            </c:numRef>
          </c:val>
          <c:extLst>
            <c:ext xmlns:c16="http://schemas.microsoft.com/office/drawing/2014/chart" uri="{C3380CC4-5D6E-409C-BE32-E72D297353CC}">
              <c16:uniqueId val="{00000001-E5BA-41A7-A755-62989C571E70}"/>
            </c:ext>
          </c:extLst>
        </c:ser>
        <c:ser>
          <c:idx val="2"/>
          <c:order val="2"/>
          <c:tx>
            <c:strRef>
              <c:f>'[2024-10_Analyse negative Preise 2024.xlsx]Grafiken'!$C$4</c:f>
              <c:strCache>
                <c:ptCount val="1"/>
                <c:pt idx="0">
                  <c:v>Mrz</c:v>
                </c:pt>
              </c:strCache>
            </c:strRef>
          </c:tx>
          <c:spPr>
            <a:solidFill>
              <a:schemeClr val="accent3"/>
            </a:solidFill>
            <a:ln>
              <a:noFill/>
            </a:ln>
            <a:effectLst/>
          </c:spPr>
          <c:invertIfNegative val="0"/>
          <c:val>
            <c:numRef>
              <c:f>'[2024-10_Analyse negative Preise 2024.xlsx]Grafiken'!$D$4</c:f>
              <c:numCache>
                <c:formatCode>General</c:formatCode>
                <c:ptCount val="1"/>
                <c:pt idx="0">
                  <c:v>12</c:v>
                </c:pt>
              </c:numCache>
            </c:numRef>
          </c:val>
          <c:extLst>
            <c:ext xmlns:c16="http://schemas.microsoft.com/office/drawing/2014/chart" uri="{C3380CC4-5D6E-409C-BE32-E72D297353CC}">
              <c16:uniqueId val="{00000002-E5BA-41A7-A755-62989C571E70}"/>
            </c:ext>
          </c:extLst>
        </c:ser>
        <c:ser>
          <c:idx val="3"/>
          <c:order val="3"/>
          <c:tx>
            <c:strRef>
              <c:f>'[2024-10_Analyse negative Preise 2024.xlsx]Grafiken'!$C$5</c:f>
              <c:strCache>
                <c:ptCount val="1"/>
                <c:pt idx="0">
                  <c:v>Apr</c:v>
                </c:pt>
              </c:strCache>
            </c:strRef>
          </c:tx>
          <c:spPr>
            <a:solidFill>
              <a:schemeClr val="accent4"/>
            </a:solidFill>
            <a:ln>
              <a:noFill/>
            </a:ln>
            <a:effectLst/>
          </c:spPr>
          <c:invertIfNegative val="0"/>
          <c:val>
            <c:numRef>
              <c:f>'[2024-10_Analyse negative Preise 2024.xlsx]Grafiken'!$D$5</c:f>
              <c:numCache>
                <c:formatCode>General</c:formatCode>
                <c:ptCount val="1"/>
                <c:pt idx="0">
                  <c:v>50</c:v>
                </c:pt>
              </c:numCache>
            </c:numRef>
          </c:val>
          <c:extLst>
            <c:ext xmlns:c16="http://schemas.microsoft.com/office/drawing/2014/chart" uri="{C3380CC4-5D6E-409C-BE32-E72D297353CC}">
              <c16:uniqueId val="{00000003-E5BA-41A7-A755-62989C571E70}"/>
            </c:ext>
          </c:extLst>
        </c:ser>
        <c:ser>
          <c:idx val="4"/>
          <c:order val="4"/>
          <c:tx>
            <c:strRef>
              <c:f>'[2024-10_Analyse negative Preise 2024.xlsx]Grafiken'!$C$6</c:f>
              <c:strCache>
                <c:ptCount val="1"/>
                <c:pt idx="0">
                  <c:v>Mai</c:v>
                </c:pt>
              </c:strCache>
            </c:strRef>
          </c:tx>
          <c:spPr>
            <a:solidFill>
              <a:schemeClr val="accent5"/>
            </a:solidFill>
            <a:ln>
              <a:noFill/>
            </a:ln>
            <a:effectLst/>
          </c:spPr>
          <c:invertIfNegative val="0"/>
          <c:val>
            <c:numRef>
              <c:f>'[2024-10_Analyse negative Preise 2024.xlsx]Grafiken'!$D$6</c:f>
              <c:numCache>
                <c:formatCode>General</c:formatCode>
                <c:ptCount val="1"/>
                <c:pt idx="0">
                  <c:v>78</c:v>
                </c:pt>
              </c:numCache>
            </c:numRef>
          </c:val>
          <c:extLst>
            <c:ext xmlns:c16="http://schemas.microsoft.com/office/drawing/2014/chart" uri="{C3380CC4-5D6E-409C-BE32-E72D297353CC}">
              <c16:uniqueId val="{00000004-E5BA-41A7-A755-62989C571E70}"/>
            </c:ext>
          </c:extLst>
        </c:ser>
        <c:ser>
          <c:idx val="5"/>
          <c:order val="5"/>
          <c:tx>
            <c:strRef>
              <c:f>'[2024-10_Analyse negative Preise 2024.xlsx]Grafiken'!$C$7</c:f>
              <c:strCache>
                <c:ptCount val="1"/>
                <c:pt idx="0">
                  <c:v>Jun</c:v>
                </c:pt>
              </c:strCache>
            </c:strRef>
          </c:tx>
          <c:spPr>
            <a:solidFill>
              <a:schemeClr val="accent6"/>
            </a:solidFill>
            <a:ln>
              <a:noFill/>
            </a:ln>
            <a:effectLst/>
          </c:spPr>
          <c:invertIfNegative val="0"/>
          <c:val>
            <c:numRef>
              <c:f>'[2024-10_Analyse negative Preise 2024.xlsx]Grafiken'!$D$7</c:f>
              <c:numCache>
                <c:formatCode>General</c:formatCode>
                <c:ptCount val="1"/>
                <c:pt idx="0">
                  <c:v>66</c:v>
                </c:pt>
              </c:numCache>
            </c:numRef>
          </c:val>
          <c:extLst>
            <c:ext xmlns:c16="http://schemas.microsoft.com/office/drawing/2014/chart" uri="{C3380CC4-5D6E-409C-BE32-E72D297353CC}">
              <c16:uniqueId val="{00000005-E5BA-41A7-A755-62989C571E70}"/>
            </c:ext>
          </c:extLst>
        </c:ser>
        <c:ser>
          <c:idx val="6"/>
          <c:order val="6"/>
          <c:tx>
            <c:strRef>
              <c:f>'[2024-10_Analyse negative Preise 2024.xlsx]Grafiken'!$C$8</c:f>
              <c:strCache>
                <c:ptCount val="1"/>
                <c:pt idx="0">
                  <c:v>Jul</c:v>
                </c:pt>
              </c:strCache>
            </c:strRef>
          </c:tx>
          <c:spPr>
            <a:solidFill>
              <a:schemeClr val="accent1">
                <a:lumMod val="60000"/>
              </a:schemeClr>
            </a:solidFill>
            <a:ln>
              <a:noFill/>
            </a:ln>
            <a:effectLst/>
          </c:spPr>
          <c:invertIfNegative val="0"/>
          <c:val>
            <c:numRef>
              <c:f>'[2024-10_Analyse negative Preise 2024.xlsx]Grafiken'!$D$8</c:f>
              <c:numCache>
                <c:formatCode>General</c:formatCode>
                <c:ptCount val="1"/>
                <c:pt idx="0">
                  <c:v>81</c:v>
                </c:pt>
              </c:numCache>
            </c:numRef>
          </c:val>
          <c:extLst>
            <c:ext xmlns:c16="http://schemas.microsoft.com/office/drawing/2014/chart" uri="{C3380CC4-5D6E-409C-BE32-E72D297353CC}">
              <c16:uniqueId val="{00000006-E5BA-41A7-A755-62989C571E70}"/>
            </c:ext>
          </c:extLst>
        </c:ser>
        <c:ser>
          <c:idx val="7"/>
          <c:order val="7"/>
          <c:tx>
            <c:strRef>
              <c:f>'[2024-10_Analyse negative Preise 2024.xlsx]Grafiken'!$C$9</c:f>
              <c:strCache>
                <c:ptCount val="1"/>
                <c:pt idx="0">
                  <c:v>Aug</c:v>
                </c:pt>
              </c:strCache>
            </c:strRef>
          </c:tx>
          <c:spPr>
            <a:solidFill>
              <a:schemeClr val="accent2">
                <a:lumMod val="60000"/>
              </a:schemeClr>
            </a:solidFill>
            <a:ln>
              <a:noFill/>
            </a:ln>
            <a:effectLst/>
          </c:spPr>
          <c:invertIfNegative val="0"/>
          <c:val>
            <c:numRef>
              <c:f>'[2024-10_Analyse negative Preise 2024.xlsx]Grafiken'!$D$9</c:f>
              <c:numCache>
                <c:formatCode>General</c:formatCode>
                <c:ptCount val="1"/>
                <c:pt idx="0">
                  <c:v>68</c:v>
                </c:pt>
              </c:numCache>
            </c:numRef>
          </c:val>
          <c:extLst>
            <c:ext xmlns:c16="http://schemas.microsoft.com/office/drawing/2014/chart" uri="{C3380CC4-5D6E-409C-BE32-E72D297353CC}">
              <c16:uniqueId val="{00000007-E5BA-41A7-A755-62989C571E70}"/>
            </c:ext>
          </c:extLst>
        </c:ser>
        <c:ser>
          <c:idx val="8"/>
          <c:order val="8"/>
          <c:tx>
            <c:strRef>
              <c:f>'[2024-10_Analyse negative Preise 2024.xlsx]Grafiken'!$C$10</c:f>
              <c:strCache>
                <c:ptCount val="1"/>
                <c:pt idx="0">
                  <c:v>Sep</c:v>
                </c:pt>
              </c:strCache>
            </c:strRef>
          </c:tx>
          <c:spPr>
            <a:solidFill>
              <a:schemeClr val="accent3">
                <a:lumMod val="60000"/>
              </a:schemeClr>
            </a:solidFill>
            <a:ln>
              <a:noFill/>
            </a:ln>
            <a:effectLst/>
          </c:spPr>
          <c:invertIfNegative val="0"/>
          <c:val>
            <c:numRef>
              <c:f>'[2024-10_Analyse negative Preise 2024.xlsx]Grafiken'!$D$10</c:f>
              <c:numCache>
                <c:formatCode>General</c:formatCode>
                <c:ptCount val="1"/>
                <c:pt idx="0">
                  <c:v>40</c:v>
                </c:pt>
              </c:numCache>
            </c:numRef>
          </c:val>
          <c:extLst>
            <c:ext xmlns:c16="http://schemas.microsoft.com/office/drawing/2014/chart" uri="{C3380CC4-5D6E-409C-BE32-E72D297353CC}">
              <c16:uniqueId val="{00000008-E5BA-41A7-A755-62989C571E70}"/>
            </c:ext>
          </c:extLst>
        </c:ser>
        <c:ser>
          <c:idx val="9"/>
          <c:order val="9"/>
          <c:tx>
            <c:strRef>
              <c:f>'[2024-10_Analyse negative Preise 2024.xlsx]Grafiken'!$C$11</c:f>
              <c:strCache>
                <c:ptCount val="1"/>
                <c:pt idx="0">
                  <c:v>Okt</c:v>
                </c:pt>
              </c:strCache>
            </c:strRef>
          </c:tx>
          <c:spPr>
            <a:solidFill>
              <a:schemeClr val="accent4">
                <a:lumMod val="60000"/>
              </a:schemeClr>
            </a:solidFill>
            <a:ln>
              <a:noFill/>
            </a:ln>
            <a:effectLst/>
          </c:spPr>
          <c:invertIfNegative val="0"/>
          <c:val>
            <c:numRef>
              <c:f>'[2024-10_Analyse negative Preise 2024.xlsx]Grafiken'!$D$11</c:f>
              <c:numCache>
                <c:formatCode>General</c:formatCode>
                <c:ptCount val="1"/>
                <c:pt idx="0">
                  <c:v>25</c:v>
                </c:pt>
              </c:numCache>
            </c:numRef>
          </c:val>
          <c:extLst>
            <c:ext xmlns:c16="http://schemas.microsoft.com/office/drawing/2014/chart" uri="{C3380CC4-5D6E-409C-BE32-E72D297353CC}">
              <c16:uniqueId val="{00000009-E5BA-41A7-A755-62989C571E70}"/>
            </c:ext>
          </c:extLst>
        </c:ser>
        <c:ser>
          <c:idx val="10"/>
          <c:order val="10"/>
          <c:tx>
            <c:strRef>
              <c:f>'[2024-10_Analyse negative Preise 2024.xlsx]Grafiken'!$C$12</c:f>
              <c:strCache>
                <c:ptCount val="1"/>
                <c:pt idx="0">
                  <c:v>Nov</c:v>
                </c:pt>
              </c:strCache>
            </c:strRef>
          </c:tx>
          <c:spPr>
            <a:solidFill>
              <a:schemeClr val="accent5">
                <a:lumMod val="60000"/>
              </a:schemeClr>
            </a:solidFill>
            <a:ln>
              <a:noFill/>
            </a:ln>
            <a:effectLst/>
          </c:spPr>
          <c:invertIfNegative val="0"/>
          <c:val>
            <c:numRef>
              <c:f>'[2024-10_Analyse negative Preise 2024.xlsx]Grafiken'!$D$12</c:f>
              <c:numCache>
                <c:formatCode>General</c:formatCode>
                <c:ptCount val="1"/>
                <c:pt idx="0">
                  <c:v>11</c:v>
                </c:pt>
              </c:numCache>
            </c:numRef>
          </c:val>
          <c:extLst>
            <c:ext xmlns:c16="http://schemas.microsoft.com/office/drawing/2014/chart" uri="{C3380CC4-5D6E-409C-BE32-E72D297353CC}">
              <c16:uniqueId val="{0000000A-E5BA-41A7-A755-62989C571E70}"/>
            </c:ext>
          </c:extLst>
        </c:ser>
        <c:ser>
          <c:idx val="11"/>
          <c:order val="11"/>
          <c:tx>
            <c:strRef>
              <c:f>'[2024-10_Analyse negative Preise 2024.xlsx]Grafiken'!$C$13</c:f>
              <c:strCache>
                <c:ptCount val="1"/>
                <c:pt idx="0">
                  <c:v>Dez</c:v>
                </c:pt>
              </c:strCache>
            </c:strRef>
          </c:tx>
          <c:spPr>
            <a:solidFill>
              <a:schemeClr val="accent6">
                <a:lumMod val="60000"/>
              </a:schemeClr>
            </a:solidFill>
            <a:ln>
              <a:noFill/>
            </a:ln>
            <a:effectLst/>
          </c:spPr>
          <c:invertIfNegative val="0"/>
          <c:val>
            <c:numRef>
              <c:f>'[2024-10_Analyse negative Preise 2024.xlsx]Grafiken'!$D$13</c:f>
              <c:numCache>
                <c:formatCode>General</c:formatCode>
                <c:ptCount val="1"/>
                <c:pt idx="0">
                  <c:v>8</c:v>
                </c:pt>
              </c:numCache>
            </c:numRef>
          </c:val>
          <c:extLst>
            <c:ext xmlns:c16="http://schemas.microsoft.com/office/drawing/2014/chart" uri="{C3380CC4-5D6E-409C-BE32-E72D297353CC}">
              <c16:uniqueId val="{0000000B-E5BA-41A7-A755-62989C571E70}"/>
            </c:ext>
          </c:extLst>
        </c:ser>
        <c:dLbls>
          <c:showLegendKey val="0"/>
          <c:showVal val="0"/>
          <c:showCatName val="0"/>
          <c:showSerName val="0"/>
          <c:showPercent val="0"/>
          <c:showBubbleSize val="0"/>
        </c:dLbls>
        <c:gapWidth val="150"/>
        <c:axId val="630297248"/>
        <c:axId val="630303488"/>
      </c:barChart>
      <c:catAx>
        <c:axId val="630297248"/>
        <c:scaling>
          <c:orientation val="minMax"/>
        </c:scaling>
        <c:delete val="1"/>
        <c:axPos val="b"/>
        <c:numFmt formatCode="General" sourceLinked="1"/>
        <c:majorTickMark val="none"/>
        <c:minorTickMark val="none"/>
        <c:tickLblPos val="nextTo"/>
        <c:crossAx val="630303488"/>
        <c:crosses val="autoZero"/>
        <c:auto val="1"/>
        <c:lblAlgn val="ctr"/>
        <c:lblOffset val="100"/>
        <c:noMultiLvlLbl val="0"/>
      </c:catAx>
      <c:valAx>
        <c:axId val="63030348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30297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3"/>
          <c:order val="13"/>
          <c:tx>
            <c:strRef>
              <c:f>'[Microsoft Excel-Arbeitsblatt (neu).xlsx]Tabelle1'!$O$1</c:f>
              <c:strCache>
                <c:ptCount val="1"/>
                <c:pt idx="0">
                  <c:v>Solar generation</c:v>
                </c:pt>
              </c:strCache>
            </c:strRef>
          </c:tx>
          <c:spPr>
            <a:solidFill>
              <a:schemeClr val="accent2">
                <a:lumMod val="80000"/>
                <a:lumOff val="20000"/>
              </a:schemeClr>
            </a:solidFill>
            <a:ln>
              <a:noFill/>
            </a:ln>
            <a:effectLst/>
          </c:spPr>
          <c:invertIfNegative val="0"/>
          <c:cat>
            <c:strRef>
              <c:f>'[Microsoft Excel-Arbeitsblatt (neu).xlsx]Tabelle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Microsoft Excel-Arbeitsblatt (neu).xlsx]Tabelle1'!$O$2:$O$13</c:f>
              <c:numCache>
                <c:formatCode>General</c:formatCode>
                <c:ptCount val="12"/>
                <c:pt idx="0">
                  <c:v>1378.011</c:v>
                </c:pt>
                <c:pt idx="1">
                  <c:v>2140.6979999999999</c:v>
                </c:pt>
                <c:pt idx="2">
                  <c:v>4550.3869999999997</c:v>
                </c:pt>
                <c:pt idx="3">
                  <c:v>6154.88</c:v>
                </c:pt>
                <c:pt idx="4">
                  <c:v>8029.1019999999999</c:v>
                </c:pt>
                <c:pt idx="5">
                  <c:v>8273.6650000000009</c:v>
                </c:pt>
                <c:pt idx="6">
                  <c:v>8668.4830000000002</c:v>
                </c:pt>
                <c:pt idx="7">
                  <c:v>8366.8960000000006</c:v>
                </c:pt>
                <c:pt idx="8">
                  <c:v>5930.1909999999998</c:v>
                </c:pt>
                <c:pt idx="9">
                  <c:v>3570.569</c:v>
                </c:pt>
                <c:pt idx="10">
                  <c:v>1547.4770000000001</c:v>
                </c:pt>
                <c:pt idx="11">
                  <c:v>1095.9090000000001</c:v>
                </c:pt>
              </c:numCache>
            </c:numRef>
          </c:val>
          <c:extLst>
            <c:ext xmlns:c16="http://schemas.microsoft.com/office/drawing/2014/chart" uri="{C3380CC4-5D6E-409C-BE32-E72D297353CC}">
              <c16:uniqueId val="{00000000-AC04-4116-877F-BC921E3DFCA3}"/>
            </c:ext>
          </c:extLst>
        </c:ser>
        <c:dLbls>
          <c:showLegendKey val="0"/>
          <c:showVal val="0"/>
          <c:showCatName val="0"/>
          <c:showSerName val="0"/>
          <c:showPercent val="0"/>
          <c:showBubbleSize val="0"/>
        </c:dLbls>
        <c:gapWidth val="219"/>
        <c:axId val="1054113007"/>
        <c:axId val="1222026095"/>
        <c:extLst>
          <c:ext xmlns:c15="http://schemas.microsoft.com/office/drawing/2012/chart" uri="{02D57815-91ED-43cb-92C2-25804820EDAC}">
            <c15:filteredBarSeries>
              <c15:ser>
                <c:idx val="0"/>
                <c:order val="0"/>
                <c:tx>
                  <c:strRef>
                    <c:extLst>
                      <c:ext uri="{02D57815-91ED-43cb-92C2-25804820EDAC}">
                        <c15:formulaRef>
                          <c15:sqref>'[Microsoft Excel-Arbeitsblatt (neu).xlsx]Tabelle1'!$B$1</c15:sqref>
                        </c15:formulaRef>
                      </c:ext>
                    </c:extLst>
                    <c:strCache>
                      <c:ptCount val="1"/>
                      <c:pt idx="0">
                        <c:v>Laufwasser</c:v>
                      </c:pt>
                    </c:strCache>
                  </c:strRef>
                </c:tx>
                <c:spPr>
                  <a:solidFill>
                    <a:schemeClr val="accent1"/>
                  </a:solidFill>
                  <a:ln>
                    <a:noFill/>
                  </a:ln>
                  <a:effectLst/>
                </c:spPr>
                <c:invertIfNegative val="0"/>
                <c:cat>
                  <c:strRef>
                    <c:extLst>
                      <c:ex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c:ext uri="{02D57815-91ED-43cb-92C2-25804820EDAC}">
                        <c15:formulaRef>
                          <c15:sqref>'[Microsoft Excel-Arbeitsblatt (neu).xlsx]Tabelle1'!$B$2:$B$13</c15:sqref>
                        </c15:formulaRef>
                      </c:ext>
                    </c:extLst>
                    <c:numCache>
                      <c:formatCode>General</c:formatCode>
                      <c:ptCount val="12"/>
                      <c:pt idx="0">
                        <c:v>1688.5730000000001</c:v>
                      </c:pt>
                      <c:pt idx="1">
                        <c:v>1538.405</c:v>
                      </c:pt>
                      <c:pt idx="2">
                        <c:v>1587.9929999999999</c:v>
                      </c:pt>
                      <c:pt idx="3">
                        <c:v>1728.3589999999999</c:v>
                      </c:pt>
                      <c:pt idx="4">
                        <c:v>2078.7530000000002</c:v>
                      </c:pt>
                      <c:pt idx="5">
                        <c:v>1881.152</c:v>
                      </c:pt>
                      <c:pt idx="6">
                        <c:v>2034.4590000000001</c:v>
                      </c:pt>
                      <c:pt idx="7">
                        <c:v>1848.761</c:v>
                      </c:pt>
                      <c:pt idx="8">
                        <c:v>1712.425</c:v>
                      </c:pt>
                      <c:pt idx="9">
                        <c:v>1862.528</c:v>
                      </c:pt>
                      <c:pt idx="10">
                        <c:v>1277.546</c:v>
                      </c:pt>
                      <c:pt idx="11">
                        <c:v>1324.3869999999999</c:v>
                      </c:pt>
                    </c:numCache>
                  </c:numRef>
                </c:val>
                <c:extLst>
                  <c:ext xmlns:c16="http://schemas.microsoft.com/office/drawing/2014/chart" uri="{C3380CC4-5D6E-409C-BE32-E72D297353CC}">
                    <c16:uniqueId val="{00000002-AC04-4116-877F-BC921E3DFCA3}"/>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Microsoft Excel-Arbeitsblatt (neu).xlsx]Tabelle1'!$C$1</c15:sqref>
                        </c15:formulaRef>
                      </c:ext>
                    </c:extLst>
                    <c:strCache>
                      <c:ptCount val="1"/>
                      <c:pt idx="0">
                        <c:v>Biomasse</c:v>
                      </c:pt>
                    </c:strCache>
                  </c:strRef>
                </c:tx>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C$2:$C$13</c15:sqref>
                        </c15:formulaRef>
                      </c:ext>
                    </c:extLst>
                    <c:numCache>
                      <c:formatCode>General</c:formatCode>
                      <c:ptCount val="12"/>
                      <c:pt idx="0">
                        <c:v>3305.2959999999998</c:v>
                      </c:pt>
                      <c:pt idx="1">
                        <c:v>3137.0149999999999</c:v>
                      </c:pt>
                      <c:pt idx="2">
                        <c:v>3298.739</c:v>
                      </c:pt>
                      <c:pt idx="3">
                        <c:v>3054.3870000000002</c:v>
                      </c:pt>
                      <c:pt idx="4">
                        <c:v>3023.9459999999999</c:v>
                      </c:pt>
                      <c:pt idx="5">
                        <c:v>2808.6419999999998</c:v>
                      </c:pt>
                      <c:pt idx="6">
                        <c:v>2873.1419999999998</c:v>
                      </c:pt>
                      <c:pt idx="7">
                        <c:v>2833.683</c:v>
                      </c:pt>
                      <c:pt idx="8">
                        <c:v>2863.8710000000001</c:v>
                      </c:pt>
                      <c:pt idx="9">
                        <c:v>3173.0219999999999</c:v>
                      </c:pt>
                      <c:pt idx="10">
                        <c:v>3237.2510000000002</c:v>
                      </c:pt>
                      <c:pt idx="11">
                        <c:v>3250.2330000000002</c:v>
                      </c:pt>
                    </c:numCache>
                  </c:numRef>
                </c:val>
                <c:extLst xmlns:c15="http://schemas.microsoft.com/office/drawing/2012/chart">
                  <c:ext xmlns:c16="http://schemas.microsoft.com/office/drawing/2014/chart" uri="{C3380CC4-5D6E-409C-BE32-E72D297353CC}">
                    <c16:uniqueId val="{00000003-AC04-4116-877F-BC921E3DFCA3}"/>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Microsoft Excel-Arbeitsblatt (neu).xlsx]Tabelle1'!$D$1</c15:sqref>
                        </c15:formulaRef>
                      </c:ext>
                    </c:extLst>
                    <c:strCache>
                      <c:ptCount val="1"/>
                      <c:pt idx="0">
                        <c:v>Braunkohle</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D$2:$D$13</c15:sqref>
                        </c15:formulaRef>
                      </c:ext>
                    </c:extLst>
                    <c:numCache>
                      <c:formatCode>General</c:formatCode>
                      <c:ptCount val="12"/>
                      <c:pt idx="0">
                        <c:v>6740.7849999999999</c:v>
                      </c:pt>
                      <c:pt idx="1">
                        <c:v>5986.991</c:v>
                      </c:pt>
                      <c:pt idx="2">
                        <c:v>6445.067</c:v>
                      </c:pt>
                      <c:pt idx="3">
                        <c:v>4374.33</c:v>
                      </c:pt>
                      <c:pt idx="4">
                        <c:v>4856.0429999999997</c:v>
                      </c:pt>
                      <c:pt idx="5">
                        <c:v>5275.5280000000002</c:v>
                      </c:pt>
                      <c:pt idx="6">
                        <c:v>5457.1360000000004</c:v>
                      </c:pt>
                      <c:pt idx="7">
                        <c:v>5393.0749999999998</c:v>
                      </c:pt>
                      <c:pt idx="8">
                        <c:v>5197.902</c:v>
                      </c:pt>
                      <c:pt idx="9">
                        <c:v>7134.009</c:v>
                      </c:pt>
                      <c:pt idx="10">
                        <c:v>7657.982</c:v>
                      </c:pt>
                      <c:pt idx="11">
                        <c:v>6578.0029999999997</c:v>
                      </c:pt>
                    </c:numCache>
                  </c:numRef>
                </c:val>
                <c:extLst xmlns:c15="http://schemas.microsoft.com/office/drawing/2012/chart">
                  <c:ext xmlns:c16="http://schemas.microsoft.com/office/drawing/2014/chart" uri="{C3380CC4-5D6E-409C-BE32-E72D297353CC}">
                    <c16:uniqueId val="{00000004-AC04-4116-877F-BC921E3DFCA3}"/>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Microsoft Excel-Arbeitsblatt (neu).xlsx]Tabelle1'!$E$1</c15:sqref>
                        </c15:formulaRef>
                      </c:ext>
                    </c:extLst>
                    <c:strCache>
                      <c:ptCount val="1"/>
                      <c:pt idx="0">
                        <c:v>Steinkohle</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E$2:$E$13</c15:sqref>
                        </c15:formulaRef>
                      </c:ext>
                    </c:extLst>
                    <c:numCache>
                      <c:formatCode>General</c:formatCode>
                      <c:ptCount val="12"/>
                      <c:pt idx="0">
                        <c:v>3407.665</c:v>
                      </c:pt>
                      <c:pt idx="1">
                        <c:v>2127.7220000000002</c:v>
                      </c:pt>
                      <c:pt idx="2">
                        <c:v>1983.5329999999999</c:v>
                      </c:pt>
                      <c:pt idx="3">
                        <c:v>1284.0940000000001</c:v>
                      </c:pt>
                      <c:pt idx="4">
                        <c:v>690.76599999999996</c:v>
                      </c:pt>
                      <c:pt idx="5">
                        <c:v>1036.692</c:v>
                      </c:pt>
                      <c:pt idx="6">
                        <c:v>744.14300000000003</c:v>
                      </c:pt>
                      <c:pt idx="7">
                        <c:v>1463.6869999999999</c:v>
                      </c:pt>
                      <c:pt idx="8">
                        <c:v>1885.3789999999999</c:v>
                      </c:pt>
                      <c:pt idx="9">
                        <c:v>2750.2539999999999</c:v>
                      </c:pt>
                      <c:pt idx="10">
                        <c:v>3685.5929999999998</c:v>
                      </c:pt>
                      <c:pt idx="11">
                        <c:v>3096.5540000000001</c:v>
                      </c:pt>
                    </c:numCache>
                  </c:numRef>
                </c:val>
                <c:extLst xmlns:c15="http://schemas.microsoft.com/office/drawing/2012/chart">
                  <c:ext xmlns:c16="http://schemas.microsoft.com/office/drawing/2014/chart" uri="{C3380CC4-5D6E-409C-BE32-E72D297353CC}">
                    <c16:uniqueId val="{00000005-AC04-4116-877F-BC921E3DFCA3}"/>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Microsoft Excel-Arbeitsblatt (neu).xlsx]Tabelle1'!$F$1</c15:sqref>
                        </c15:formulaRef>
                      </c:ext>
                    </c:extLst>
                    <c:strCache>
                      <c:ptCount val="1"/>
                      <c:pt idx="0">
                        <c:v>Öl</c:v>
                      </c:pt>
                    </c:strCache>
                  </c:strRef>
                </c:tx>
                <c:spPr>
                  <a:solidFill>
                    <a:schemeClr val="accent5"/>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F$2:$F$13</c15:sqref>
                        </c15:formulaRef>
                      </c:ext>
                    </c:extLst>
                    <c:numCache>
                      <c:formatCode>General</c:formatCode>
                      <c:ptCount val="12"/>
                      <c:pt idx="0">
                        <c:v>294.262</c:v>
                      </c:pt>
                      <c:pt idx="1">
                        <c:v>253.89599999999999</c:v>
                      </c:pt>
                      <c:pt idx="2">
                        <c:v>272.52699999999999</c:v>
                      </c:pt>
                      <c:pt idx="3">
                        <c:v>262.65899999999999</c:v>
                      </c:pt>
                      <c:pt idx="4">
                        <c:v>278.96899999999999</c:v>
                      </c:pt>
                      <c:pt idx="5">
                        <c:v>243.286</c:v>
                      </c:pt>
                      <c:pt idx="6">
                        <c:v>276.95400000000001</c:v>
                      </c:pt>
                      <c:pt idx="7">
                        <c:v>323.2</c:v>
                      </c:pt>
                      <c:pt idx="8">
                        <c:v>306.988</c:v>
                      </c:pt>
                      <c:pt idx="9">
                        <c:v>209.39699999999999</c:v>
                      </c:pt>
                      <c:pt idx="10">
                        <c:v>247.39099999999999</c:v>
                      </c:pt>
                      <c:pt idx="11">
                        <c:v>273.661</c:v>
                      </c:pt>
                    </c:numCache>
                  </c:numRef>
                </c:val>
                <c:extLst xmlns:c15="http://schemas.microsoft.com/office/drawing/2012/chart">
                  <c:ext xmlns:c16="http://schemas.microsoft.com/office/drawing/2014/chart" uri="{C3380CC4-5D6E-409C-BE32-E72D297353CC}">
                    <c16:uniqueId val="{00000006-AC04-4116-877F-BC921E3DFCA3}"/>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Microsoft Excel-Arbeitsblatt (neu).xlsx]Tabelle1'!$G$1</c15:sqref>
                        </c15:formulaRef>
                      </c:ext>
                    </c:extLst>
                    <c:strCache>
                      <c:ptCount val="1"/>
                      <c:pt idx="0">
                        <c:v>Erdgas</c:v>
                      </c:pt>
                    </c:strCache>
                  </c:strRef>
                </c:tx>
                <c:spPr>
                  <a:solidFill>
                    <a:schemeClr val="accent6"/>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G$2:$G$13</c15:sqref>
                        </c15:formulaRef>
                      </c:ext>
                    </c:extLst>
                    <c:numCache>
                      <c:formatCode>General</c:formatCode>
                      <c:ptCount val="12"/>
                      <c:pt idx="0">
                        <c:v>6111.6729999999998</c:v>
                      </c:pt>
                      <c:pt idx="1">
                        <c:v>4429.7259999999997</c:v>
                      </c:pt>
                      <c:pt idx="2">
                        <c:v>4544.0529999999999</c:v>
                      </c:pt>
                      <c:pt idx="3">
                        <c:v>3539.1039999999998</c:v>
                      </c:pt>
                      <c:pt idx="4">
                        <c:v>2906.346</c:v>
                      </c:pt>
                      <c:pt idx="5">
                        <c:v>2317.6410000000001</c:v>
                      </c:pt>
                      <c:pt idx="6">
                        <c:v>2119.7280000000001</c:v>
                      </c:pt>
                      <c:pt idx="7">
                        <c:v>2370.5419999999999</c:v>
                      </c:pt>
                      <c:pt idx="8">
                        <c:v>2526.35</c:v>
                      </c:pt>
                      <c:pt idx="9">
                        <c:v>3853.2779999999998</c:v>
                      </c:pt>
                      <c:pt idx="10">
                        <c:v>7062.0640000000003</c:v>
                      </c:pt>
                      <c:pt idx="11">
                        <c:v>6663.2209999999995</c:v>
                      </c:pt>
                    </c:numCache>
                  </c:numRef>
                </c:val>
                <c:extLst xmlns:c15="http://schemas.microsoft.com/office/drawing/2012/chart">
                  <c:ext xmlns:c16="http://schemas.microsoft.com/office/drawing/2014/chart" uri="{C3380CC4-5D6E-409C-BE32-E72D297353CC}">
                    <c16:uniqueId val="{00000007-AC04-4116-877F-BC921E3DFCA3}"/>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Microsoft Excel-Arbeitsblatt (neu).xlsx]Tabelle1'!$H$1</c15:sqref>
                        </c15:formulaRef>
                      </c:ext>
                    </c:extLst>
                    <c:strCache>
                      <c:ptCount val="1"/>
                      <c:pt idx="0">
                        <c:v>Geothermie</c:v>
                      </c:pt>
                    </c:strCache>
                  </c:strRef>
                </c:tx>
                <c:spPr>
                  <a:solidFill>
                    <a:schemeClr val="accent1">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H$2:$H$13</c15:sqref>
                        </c15:formulaRef>
                      </c:ext>
                    </c:extLst>
                    <c:numCache>
                      <c:formatCode>General</c:formatCode>
                      <c:ptCount val="12"/>
                      <c:pt idx="0">
                        <c:v>15.648999999999999</c:v>
                      </c:pt>
                      <c:pt idx="1">
                        <c:v>15.698</c:v>
                      </c:pt>
                      <c:pt idx="2">
                        <c:v>16.259</c:v>
                      </c:pt>
                      <c:pt idx="3">
                        <c:v>14.019</c:v>
                      </c:pt>
                      <c:pt idx="4">
                        <c:v>12.675000000000001</c:v>
                      </c:pt>
                      <c:pt idx="5">
                        <c:v>10.345000000000001</c:v>
                      </c:pt>
                      <c:pt idx="6">
                        <c:v>9.9339999999999993</c:v>
                      </c:pt>
                      <c:pt idx="7">
                        <c:v>11.505000000000001</c:v>
                      </c:pt>
                      <c:pt idx="8">
                        <c:v>12.794</c:v>
                      </c:pt>
                      <c:pt idx="9">
                        <c:v>14.43</c:v>
                      </c:pt>
                      <c:pt idx="10">
                        <c:v>15.243</c:v>
                      </c:pt>
                      <c:pt idx="11">
                        <c:v>12.593999999999999</c:v>
                      </c:pt>
                    </c:numCache>
                  </c:numRef>
                </c:val>
                <c:extLst xmlns:c15="http://schemas.microsoft.com/office/drawing/2012/chart">
                  <c:ext xmlns:c16="http://schemas.microsoft.com/office/drawing/2014/chart" uri="{C3380CC4-5D6E-409C-BE32-E72D297353CC}">
                    <c16:uniqueId val="{00000008-AC04-4116-877F-BC921E3DFCA3}"/>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Microsoft Excel-Arbeitsblatt (neu).xlsx]Tabelle1'!$I$1</c15:sqref>
                        </c15:formulaRef>
                      </c:ext>
                    </c:extLst>
                    <c:strCache>
                      <c:ptCount val="1"/>
                      <c:pt idx="0">
                        <c:v>Speicherwasser</c:v>
                      </c:pt>
                    </c:strCache>
                  </c:strRef>
                </c:tx>
                <c:spPr>
                  <a:solidFill>
                    <a:schemeClr val="accent2">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I$2:$I$13</c15:sqref>
                        </c15:formulaRef>
                      </c:ext>
                    </c:extLst>
                    <c:numCache>
                      <c:formatCode>General</c:formatCode>
                      <c:ptCount val="12"/>
                      <c:pt idx="0">
                        <c:v>95.76</c:v>
                      </c:pt>
                      <c:pt idx="1">
                        <c:v>54.768999999999998</c:v>
                      </c:pt>
                      <c:pt idx="2">
                        <c:v>47.136000000000003</c:v>
                      </c:pt>
                      <c:pt idx="3">
                        <c:v>54.247999999999998</c:v>
                      </c:pt>
                      <c:pt idx="4">
                        <c:v>112.01900000000001</c:v>
                      </c:pt>
                      <c:pt idx="5">
                        <c:v>174.34</c:v>
                      </c:pt>
                      <c:pt idx="6">
                        <c:v>210.976</c:v>
                      </c:pt>
                      <c:pt idx="7">
                        <c:v>108.214</c:v>
                      </c:pt>
                      <c:pt idx="8">
                        <c:v>78.033000000000001</c:v>
                      </c:pt>
                      <c:pt idx="9">
                        <c:v>107.90600000000001</c:v>
                      </c:pt>
                      <c:pt idx="10">
                        <c:v>64.210999999999999</c:v>
                      </c:pt>
                      <c:pt idx="11">
                        <c:v>54.606000000000002</c:v>
                      </c:pt>
                    </c:numCache>
                  </c:numRef>
                </c:val>
                <c:extLst xmlns:c15="http://schemas.microsoft.com/office/drawing/2012/chart">
                  <c:ext xmlns:c16="http://schemas.microsoft.com/office/drawing/2014/chart" uri="{C3380CC4-5D6E-409C-BE32-E72D297353CC}">
                    <c16:uniqueId val="{00000009-AC04-4116-877F-BC921E3DFCA3}"/>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Microsoft Excel-Arbeitsblatt (neu).xlsx]Tabelle1'!$J$1</c15:sqref>
                        </c15:formulaRef>
                      </c:ext>
                    </c:extLst>
                    <c:strCache>
                      <c:ptCount val="1"/>
                      <c:pt idx="0">
                        <c:v>Andere</c:v>
                      </c:pt>
                    </c:strCache>
                  </c:strRef>
                </c:tx>
                <c:spPr>
                  <a:solidFill>
                    <a:schemeClr val="accent3">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J$2:$J$13</c15:sqref>
                        </c15:formulaRef>
                      </c:ext>
                    </c:extLst>
                    <c:numCache>
                      <c:formatCode>General</c:formatCode>
                      <c:ptCount val="12"/>
                      <c:pt idx="0">
                        <c:v>166.071</c:v>
                      </c:pt>
                      <c:pt idx="1">
                        <c:v>139.779</c:v>
                      </c:pt>
                      <c:pt idx="2">
                        <c:v>153.29599999999999</c:v>
                      </c:pt>
                      <c:pt idx="3">
                        <c:v>127.824</c:v>
                      </c:pt>
                      <c:pt idx="4">
                        <c:v>88.114000000000004</c:v>
                      </c:pt>
                      <c:pt idx="5">
                        <c:v>81.155000000000001</c:v>
                      </c:pt>
                      <c:pt idx="6">
                        <c:v>85.034999999999997</c:v>
                      </c:pt>
                      <c:pt idx="7">
                        <c:v>87.747</c:v>
                      </c:pt>
                      <c:pt idx="8">
                        <c:v>103.916</c:v>
                      </c:pt>
                      <c:pt idx="9">
                        <c:v>123.48399999999999</c:v>
                      </c:pt>
                      <c:pt idx="10">
                        <c:v>150.79</c:v>
                      </c:pt>
                      <c:pt idx="11">
                        <c:v>162.57499999999999</c:v>
                      </c:pt>
                    </c:numCache>
                  </c:numRef>
                </c:val>
                <c:extLst xmlns:c15="http://schemas.microsoft.com/office/drawing/2012/chart">
                  <c:ext xmlns:c16="http://schemas.microsoft.com/office/drawing/2014/chart" uri="{C3380CC4-5D6E-409C-BE32-E72D297353CC}">
                    <c16:uniqueId val="{0000000A-AC04-4116-877F-BC921E3DFCA3}"/>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Microsoft Excel-Arbeitsblatt (neu).xlsx]Tabelle1'!$K$1</c15:sqref>
                        </c15:formulaRef>
                      </c:ext>
                    </c:extLst>
                    <c:strCache>
                      <c:ptCount val="1"/>
                      <c:pt idx="0">
                        <c:v>Erneuerbarer Müll</c:v>
                      </c:pt>
                    </c:strCache>
                  </c:strRef>
                </c:tx>
                <c:spPr>
                  <a:solidFill>
                    <a:schemeClr val="accent4">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K$2:$K$13</c15:sqref>
                        </c15:formulaRef>
                      </c:ext>
                    </c:extLst>
                    <c:numCache>
                      <c:formatCode>General</c:formatCode>
                      <c:ptCount val="12"/>
                      <c:pt idx="0">
                        <c:v>337.17099999999999</c:v>
                      </c:pt>
                      <c:pt idx="1">
                        <c:v>375.39100000000002</c:v>
                      </c:pt>
                      <c:pt idx="2">
                        <c:v>382.21100000000001</c:v>
                      </c:pt>
                      <c:pt idx="3">
                        <c:v>314.32100000000003</c:v>
                      </c:pt>
                      <c:pt idx="4">
                        <c:v>369.58300000000003</c:v>
                      </c:pt>
                      <c:pt idx="5">
                        <c:v>285.74</c:v>
                      </c:pt>
                      <c:pt idx="6">
                        <c:v>430.35</c:v>
                      </c:pt>
                      <c:pt idx="7">
                        <c:v>386.24700000000001</c:v>
                      </c:pt>
                      <c:pt idx="8">
                        <c:v>367.41399999999999</c:v>
                      </c:pt>
                      <c:pt idx="9">
                        <c:v>394.38099999999997</c:v>
                      </c:pt>
                      <c:pt idx="10">
                        <c:v>362.07600000000002</c:v>
                      </c:pt>
                      <c:pt idx="11">
                        <c:v>363.40199999999999</c:v>
                      </c:pt>
                    </c:numCache>
                  </c:numRef>
                </c:val>
                <c:extLst xmlns:c15="http://schemas.microsoft.com/office/drawing/2012/chart">
                  <c:ext xmlns:c16="http://schemas.microsoft.com/office/drawing/2014/chart" uri="{C3380CC4-5D6E-409C-BE32-E72D297353CC}">
                    <c16:uniqueId val="{0000000B-AC04-4116-877F-BC921E3DFCA3}"/>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Microsoft Excel-Arbeitsblatt (neu).xlsx]Tabelle1'!$L$1</c15:sqref>
                        </c15:formulaRef>
                      </c:ext>
                    </c:extLst>
                    <c:strCache>
                      <c:ptCount val="1"/>
                      <c:pt idx="0">
                        <c:v>Nicht-erneuerbarer Müll</c:v>
                      </c:pt>
                    </c:strCache>
                  </c:strRef>
                </c:tx>
                <c:spPr>
                  <a:solidFill>
                    <a:schemeClr val="accent5">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L$2:$L$13</c15:sqref>
                        </c15:formulaRef>
                      </c:ext>
                    </c:extLst>
                    <c:numCache>
                      <c:formatCode>General</c:formatCode>
                      <c:ptCount val="12"/>
                      <c:pt idx="0">
                        <c:v>376.06900000000002</c:v>
                      </c:pt>
                      <c:pt idx="1">
                        <c:v>418.69900000000001</c:v>
                      </c:pt>
                      <c:pt idx="2">
                        <c:v>426.30500000000001</c:v>
                      </c:pt>
                      <c:pt idx="3">
                        <c:v>350.58199999999999</c:v>
                      </c:pt>
                      <c:pt idx="4">
                        <c:v>412.221</c:v>
                      </c:pt>
                      <c:pt idx="5">
                        <c:v>318.70400000000001</c:v>
                      </c:pt>
                      <c:pt idx="6">
                        <c:v>479.99700000000001</c:v>
                      </c:pt>
                      <c:pt idx="7">
                        <c:v>430.80599999999998</c:v>
                      </c:pt>
                      <c:pt idx="8">
                        <c:v>409.80099999999999</c:v>
                      </c:pt>
                      <c:pt idx="9">
                        <c:v>439.87900000000002</c:v>
                      </c:pt>
                      <c:pt idx="10">
                        <c:v>403.84699999999998</c:v>
                      </c:pt>
                      <c:pt idx="11">
                        <c:v>405.32600000000002</c:v>
                      </c:pt>
                    </c:numCache>
                  </c:numRef>
                </c:val>
                <c:extLst xmlns:c15="http://schemas.microsoft.com/office/drawing/2012/chart">
                  <c:ext xmlns:c16="http://schemas.microsoft.com/office/drawing/2014/chart" uri="{C3380CC4-5D6E-409C-BE32-E72D297353CC}">
                    <c16:uniqueId val="{0000000C-AC04-4116-877F-BC921E3DFCA3}"/>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Microsoft Excel-Arbeitsblatt (neu).xlsx]Tabelle1'!$M$1</c15:sqref>
                        </c15:formulaRef>
                      </c:ext>
                    </c:extLst>
                    <c:strCache>
                      <c:ptCount val="1"/>
                      <c:pt idx="0">
                        <c:v>Wind Offshore</c:v>
                      </c:pt>
                    </c:strCache>
                  </c:strRef>
                </c:tx>
                <c:spPr>
                  <a:solidFill>
                    <a:schemeClr val="accent6">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M$2:$M$13</c15:sqref>
                        </c15:formulaRef>
                      </c:ext>
                    </c:extLst>
                    <c:numCache>
                      <c:formatCode>General</c:formatCode>
                      <c:ptCount val="12"/>
                      <c:pt idx="0">
                        <c:v>3036.6610000000001</c:v>
                      </c:pt>
                      <c:pt idx="1">
                        <c:v>2780.402</c:v>
                      </c:pt>
                      <c:pt idx="2">
                        <c:v>2736.8359999999998</c:v>
                      </c:pt>
                      <c:pt idx="3">
                        <c:v>2186.0300000000002</c:v>
                      </c:pt>
                      <c:pt idx="4">
                        <c:v>1528.3140000000001</c:v>
                      </c:pt>
                      <c:pt idx="5">
                        <c:v>1552.9639999999999</c:v>
                      </c:pt>
                      <c:pt idx="6">
                        <c:v>1636.008</c:v>
                      </c:pt>
                      <c:pt idx="7">
                        <c:v>1426.2280000000001</c:v>
                      </c:pt>
                      <c:pt idx="8">
                        <c:v>1822.066</c:v>
                      </c:pt>
                      <c:pt idx="9">
                        <c:v>2261.5279999999998</c:v>
                      </c:pt>
                      <c:pt idx="10">
                        <c:v>2233.527</c:v>
                      </c:pt>
                      <c:pt idx="11">
                        <c:v>2482.59</c:v>
                      </c:pt>
                    </c:numCache>
                  </c:numRef>
                </c:val>
                <c:extLst xmlns:c15="http://schemas.microsoft.com/office/drawing/2012/chart">
                  <c:ext xmlns:c16="http://schemas.microsoft.com/office/drawing/2014/chart" uri="{C3380CC4-5D6E-409C-BE32-E72D297353CC}">
                    <c16:uniqueId val="{0000000D-AC04-4116-877F-BC921E3DFCA3}"/>
                  </c:ext>
                </c:extLst>
              </c15:ser>
            </c15:filteredBarSeries>
            <c15:filteredBarSeries>
              <c15:ser>
                <c:idx val="12"/>
                <c:order val="12"/>
                <c:tx>
                  <c:strRef>
                    <c:extLst xmlns:c15="http://schemas.microsoft.com/office/drawing/2012/chart">
                      <c:ext xmlns:c15="http://schemas.microsoft.com/office/drawing/2012/chart" uri="{02D57815-91ED-43cb-92C2-25804820EDAC}">
                        <c15:formulaRef>
                          <c15:sqref>'[Microsoft Excel-Arbeitsblatt (neu).xlsx]Tabelle1'!$N$1</c15:sqref>
                        </c15:formulaRef>
                      </c:ext>
                    </c:extLst>
                    <c:strCache>
                      <c:ptCount val="1"/>
                      <c:pt idx="0">
                        <c:v>Wind Onshore generation</c:v>
                      </c:pt>
                    </c:strCache>
                  </c:strRef>
                </c:tx>
                <c:spPr>
                  <a:solidFill>
                    <a:schemeClr val="accent1">
                      <a:lumMod val="80000"/>
                      <a:lumOff val="2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N$2:$N$13</c15:sqref>
                        </c15:formulaRef>
                      </c:ext>
                    </c:extLst>
                    <c:numCache>
                      <c:formatCode>General</c:formatCode>
                      <c:ptCount val="12"/>
                      <c:pt idx="0">
                        <c:v>15272.573</c:v>
                      </c:pt>
                      <c:pt idx="1">
                        <c:v>13804.057000000001</c:v>
                      </c:pt>
                      <c:pt idx="2">
                        <c:v>9202.7039999999997</c:v>
                      </c:pt>
                      <c:pt idx="3">
                        <c:v>9398.5069999999996</c:v>
                      </c:pt>
                      <c:pt idx="4">
                        <c:v>6167.77</c:v>
                      </c:pt>
                      <c:pt idx="5">
                        <c:v>5678.2640000000001</c:v>
                      </c:pt>
                      <c:pt idx="6">
                        <c:v>5580.3630000000003</c:v>
                      </c:pt>
                      <c:pt idx="7">
                        <c:v>5090.8580000000002</c:v>
                      </c:pt>
                      <c:pt idx="8">
                        <c:v>8321.5939999999991</c:v>
                      </c:pt>
                      <c:pt idx="9">
                        <c:v>8321.5939999999991</c:v>
                      </c:pt>
                      <c:pt idx="10">
                        <c:v>10181.715</c:v>
                      </c:pt>
                      <c:pt idx="11">
                        <c:v>13688.945</c:v>
                      </c:pt>
                    </c:numCache>
                  </c:numRef>
                </c:val>
                <c:extLst xmlns:c15="http://schemas.microsoft.com/office/drawing/2012/chart">
                  <c:ext xmlns:c16="http://schemas.microsoft.com/office/drawing/2014/chart" uri="{C3380CC4-5D6E-409C-BE32-E72D297353CC}">
                    <c16:uniqueId val="{0000000E-AC04-4116-877F-BC921E3DFCA3}"/>
                  </c:ext>
                </c:extLst>
              </c15:ser>
            </c15:filteredBarSeries>
          </c:ext>
        </c:extLst>
      </c:barChart>
      <c:lineChart>
        <c:grouping val="standard"/>
        <c:varyColors val="0"/>
        <c:ser>
          <c:idx val="14"/>
          <c:order val="14"/>
          <c:tx>
            <c:strRef>
              <c:f>'[Microsoft Excel-Arbeitsblatt (neu).xlsx]Tabelle1'!$P$1</c:f>
              <c:strCache>
                <c:ptCount val="1"/>
                <c:pt idx="0">
                  <c:v>Number of negative prices</c:v>
                </c:pt>
              </c:strCache>
            </c:strRef>
          </c:tx>
          <c:spPr>
            <a:ln w="28575" cap="rnd">
              <a:solidFill>
                <a:schemeClr val="tx2"/>
              </a:solidFill>
              <a:round/>
            </a:ln>
            <a:effectLst/>
          </c:spPr>
          <c:marker>
            <c:symbol val="none"/>
          </c:marker>
          <c:val>
            <c:numRef>
              <c:f>'[Microsoft Excel-Arbeitsblatt (neu).xlsx]Tabelle1'!$P$2:$P$13</c:f>
              <c:numCache>
                <c:formatCode>General</c:formatCode>
                <c:ptCount val="12"/>
                <c:pt idx="0">
                  <c:v>14</c:v>
                </c:pt>
                <c:pt idx="1">
                  <c:v>4</c:v>
                </c:pt>
                <c:pt idx="2">
                  <c:v>12</c:v>
                </c:pt>
                <c:pt idx="3">
                  <c:v>50</c:v>
                </c:pt>
                <c:pt idx="4">
                  <c:v>78</c:v>
                </c:pt>
                <c:pt idx="5">
                  <c:v>66</c:v>
                </c:pt>
                <c:pt idx="6">
                  <c:v>81</c:v>
                </c:pt>
                <c:pt idx="7">
                  <c:v>68</c:v>
                </c:pt>
                <c:pt idx="8">
                  <c:v>40</c:v>
                </c:pt>
                <c:pt idx="9">
                  <c:v>25</c:v>
                </c:pt>
                <c:pt idx="10">
                  <c:v>11</c:v>
                </c:pt>
                <c:pt idx="11">
                  <c:v>8</c:v>
                </c:pt>
              </c:numCache>
            </c:numRef>
          </c:val>
          <c:smooth val="0"/>
          <c:extLst>
            <c:ext xmlns:c16="http://schemas.microsoft.com/office/drawing/2014/chart" uri="{C3380CC4-5D6E-409C-BE32-E72D297353CC}">
              <c16:uniqueId val="{00000001-AC04-4116-877F-BC921E3DFCA3}"/>
            </c:ext>
          </c:extLst>
        </c:ser>
        <c:dLbls>
          <c:showLegendKey val="0"/>
          <c:showVal val="0"/>
          <c:showCatName val="0"/>
          <c:showSerName val="0"/>
          <c:showPercent val="0"/>
          <c:showBubbleSize val="0"/>
        </c:dLbls>
        <c:marker val="1"/>
        <c:smooth val="0"/>
        <c:axId val="1025505615"/>
        <c:axId val="1025498895"/>
      </c:lineChart>
      <c:catAx>
        <c:axId val="1054113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22026095"/>
        <c:crosses val="autoZero"/>
        <c:auto val="1"/>
        <c:lblAlgn val="ctr"/>
        <c:lblOffset val="100"/>
        <c:noMultiLvlLbl val="0"/>
      </c:catAx>
      <c:valAx>
        <c:axId val="122202609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dirty="0"/>
                  <a:t>PV </a:t>
                </a:r>
                <a:r>
                  <a:rPr lang="de-DE" dirty="0" err="1"/>
                  <a:t>net</a:t>
                </a:r>
                <a:r>
                  <a:rPr lang="de-DE" dirty="0"/>
                  <a:t> </a:t>
                </a:r>
                <a:r>
                  <a:rPr lang="de-DE" dirty="0" err="1"/>
                  <a:t>electricity</a:t>
                </a:r>
                <a:r>
                  <a:rPr lang="de-DE" dirty="0"/>
                  <a:t> generation in </a:t>
                </a:r>
                <a:r>
                  <a:rPr lang="de-DE" dirty="0" err="1"/>
                  <a:t>GWh</a:t>
                </a:r>
                <a:endParaRPr lang="de-DE"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054113007"/>
        <c:crosses val="autoZero"/>
        <c:crossBetween val="between"/>
      </c:valAx>
      <c:valAx>
        <c:axId val="1025498895"/>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dirty="0"/>
                  <a:t>Number of negative </a:t>
                </a:r>
                <a:r>
                  <a:rPr lang="de-DE" dirty="0" err="1"/>
                  <a:t>hours</a:t>
                </a:r>
                <a:r>
                  <a:rPr lang="de-DE" dirty="0"/>
                  <a:t> 2024</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025505615"/>
        <c:crosses val="max"/>
        <c:crossBetween val="between"/>
      </c:valAx>
      <c:catAx>
        <c:axId val="1025505615"/>
        <c:scaling>
          <c:orientation val="minMax"/>
        </c:scaling>
        <c:delete val="1"/>
        <c:axPos val="b"/>
        <c:majorTickMark val="out"/>
        <c:minorTickMark val="none"/>
        <c:tickLblPos val="nextTo"/>
        <c:crossAx val="102549889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2"/>
          <c:order val="12"/>
          <c:tx>
            <c:strRef>
              <c:f>'[Microsoft Excel-Arbeitsblatt (neu).xlsx]Tabelle1'!$N$1</c:f>
              <c:strCache>
                <c:ptCount val="1"/>
                <c:pt idx="0">
                  <c:v>Wind Onshore generation</c:v>
                </c:pt>
              </c:strCache>
            </c:strRef>
          </c:tx>
          <c:spPr>
            <a:solidFill>
              <a:schemeClr val="accent1">
                <a:lumMod val="80000"/>
                <a:lumOff val="20000"/>
              </a:schemeClr>
            </a:solidFill>
            <a:ln>
              <a:noFill/>
            </a:ln>
            <a:effectLst/>
          </c:spPr>
          <c:invertIfNegative val="0"/>
          <c:cat>
            <c:strRef>
              <c:f>'[Microsoft Excel-Arbeitsblatt (neu).xlsx]Tabelle1'!$A$2:$A$13</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Microsoft Excel-Arbeitsblatt (neu).xlsx]Tabelle1'!$N$2:$N$13</c:f>
              <c:numCache>
                <c:formatCode>General</c:formatCode>
                <c:ptCount val="12"/>
                <c:pt idx="0">
                  <c:v>15272.573</c:v>
                </c:pt>
                <c:pt idx="1">
                  <c:v>13804.057000000001</c:v>
                </c:pt>
                <c:pt idx="2">
                  <c:v>9202.7039999999997</c:v>
                </c:pt>
                <c:pt idx="3">
                  <c:v>9398.5069999999996</c:v>
                </c:pt>
                <c:pt idx="4">
                  <c:v>6167.77</c:v>
                </c:pt>
                <c:pt idx="5">
                  <c:v>5678.2640000000001</c:v>
                </c:pt>
                <c:pt idx="6">
                  <c:v>5580.3630000000003</c:v>
                </c:pt>
                <c:pt idx="7">
                  <c:v>5090.8580000000002</c:v>
                </c:pt>
                <c:pt idx="8">
                  <c:v>8321.5939999999991</c:v>
                </c:pt>
                <c:pt idx="9">
                  <c:v>8321.5939999999991</c:v>
                </c:pt>
                <c:pt idx="10">
                  <c:v>10181.715</c:v>
                </c:pt>
                <c:pt idx="11">
                  <c:v>13688.945</c:v>
                </c:pt>
              </c:numCache>
            </c:numRef>
          </c:val>
          <c:extLst>
            <c:ext xmlns:c16="http://schemas.microsoft.com/office/drawing/2014/chart" uri="{C3380CC4-5D6E-409C-BE32-E72D297353CC}">
              <c16:uniqueId val="{00000000-1ED2-47AB-B5FC-EA6A6ED2F996}"/>
            </c:ext>
          </c:extLst>
        </c:ser>
        <c:dLbls>
          <c:showLegendKey val="0"/>
          <c:showVal val="0"/>
          <c:showCatName val="0"/>
          <c:showSerName val="0"/>
          <c:showPercent val="0"/>
          <c:showBubbleSize val="0"/>
        </c:dLbls>
        <c:gapWidth val="219"/>
        <c:axId val="1054113007"/>
        <c:axId val="1222026095"/>
        <c:extLst>
          <c:ext xmlns:c15="http://schemas.microsoft.com/office/drawing/2012/chart" uri="{02D57815-91ED-43cb-92C2-25804820EDAC}">
            <c15:filteredBarSeries>
              <c15:ser>
                <c:idx val="0"/>
                <c:order val="0"/>
                <c:tx>
                  <c:strRef>
                    <c:extLst>
                      <c:ext uri="{02D57815-91ED-43cb-92C2-25804820EDAC}">
                        <c15:formulaRef>
                          <c15:sqref>'[Microsoft Excel-Arbeitsblatt (neu).xlsx]Tabelle1'!$B$1</c15:sqref>
                        </c15:formulaRef>
                      </c:ext>
                    </c:extLst>
                    <c:strCache>
                      <c:ptCount val="1"/>
                      <c:pt idx="0">
                        <c:v>Laufwasser</c:v>
                      </c:pt>
                    </c:strCache>
                  </c:strRef>
                </c:tx>
                <c:spPr>
                  <a:solidFill>
                    <a:schemeClr val="accent1"/>
                  </a:solidFill>
                  <a:ln>
                    <a:noFill/>
                  </a:ln>
                  <a:effectLst/>
                </c:spPr>
                <c:invertIfNegative val="0"/>
                <c:cat>
                  <c:strRef>
                    <c:extLst>
                      <c:ex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c:ext uri="{02D57815-91ED-43cb-92C2-25804820EDAC}">
                        <c15:formulaRef>
                          <c15:sqref>'[Microsoft Excel-Arbeitsblatt (neu).xlsx]Tabelle1'!$B$2:$B$13</c15:sqref>
                        </c15:formulaRef>
                      </c:ext>
                    </c:extLst>
                    <c:numCache>
                      <c:formatCode>General</c:formatCode>
                      <c:ptCount val="12"/>
                      <c:pt idx="0">
                        <c:v>1688.5730000000001</c:v>
                      </c:pt>
                      <c:pt idx="1">
                        <c:v>1538.405</c:v>
                      </c:pt>
                      <c:pt idx="2">
                        <c:v>1587.9929999999999</c:v>
                      </c:pt>
                      <c:pt idx="3">
                        <c:v>1728.3589999999999</c:v>
                      </c:pt>
                      <c:pt idx="4">
                        <c:v>2078.7530000000002</c:v>
                      </c:pt>
                      <c:pt idx="5">
                        <c:v>1881.152</c:v>
                      </c:pt>
                      <c:pt idx="6">
                        <c:v>2034.4590000000001</c:v>
                      </c:pt>
                      <c:pt idx="7">
                        <c:v>1848.761</c:v>
                      </c:pt>
                      <c:pt idx="8">
                        <c:v>1712.425</c:v>
                      </c:pt>
                      <c:pt idx="9">
                        <c:v>1862.528</c:v>
                      </c:pt>
                      <c:pt idx="10">
                        <c:v>1277.546</c:v>
                      </c:pt>
                      <c:pt idx="11">
                        <c:v>1324.3869999999999</c:v>
                      </c:pt>
                    </c:numCache>
                  </c:numRef>
                </c:val>
                <c:extLst>
                  <c:ext xmlns:c16="http://schemas.microsoft.com/office/drawing/2014/chart" uri="{C3380CC4-5D6E-409C-BE32-E72D297353CC}">
                    <c16:uniqueId val="{00000002-1ED2-47AB-B5FC-EA6A6ED2F996}"/>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Microsoft Excel-Arbeitsblatt (neu).xlsx]Tabelle1'!$C$1</c15:sqref>
                        </c15:formulaRef>
                      </c:ext>
                    </c:extLst>
                    <c:strCache>
                      <c:ptCount val="1"/>
                      <c:pt idx="0">
                        <c:v>Biomasse</c:v>
                      </c:pt>
                    </c:strCache>
                  </c:strRef>
                </c:tx>
                <c:spPr>
                  <a:solidFill>
                    <a:schemeClr val="accent2"/>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C$2:$C$13</c15:sqref>
                        </c15:formulaRef>
                      </c:ext>
                    </c:extLst>
                    <c:numCache>
                      <c:formatCode>General</c:formatCode>
                      <c:ptCount val="12"/>
                      <c:pt idx="0">
                        <c:v>3305.2959999999998</c:v>
                      </c:pt>
                      <c:pt idx="1">
                        <c:v>3137.0149999999999</c:v>
                      </c:pt>
                      <c:pt idx="2">
                        <c:v>3298.739</c:v>
                      </c:pt>
                      <c:pt idx="3">
                        <c:v>3054.3870000000002</c:v>
                      </c:pt>
                      <c:pt idx="4">
                        <c:v>3023.9459999999999</c:v>
                      </c:pt>
                      <c:pt idx="5">
                        <c:v>2808.6419999999998</c:v>
                      </c:pt>
                      <c:pt idx="6">
                        <c:v>2873.1419999999998</c:v>
                      </c:pt>
                      <c:pt idx="7">
                        <c:v>2833.683</c:v>
                      </c:pt>
                      <c:pt idx="8">
                        <c:v>2863.8710000000001</c:v>
                      </c:pt>
                      <c:pt idx="9">
                        <c:v>3173.0219999999999</c:v>
                      </c:pt>
                      <c:pt idx="10">
                        <c:v>3237.2510000000002</c:v>
                      </c:pt>
                      <c:pt idx="11">
                        <c:v>3250.2330000000002</c:v>
                      </c:pt>
                    </c:numCache>
                  </c:numRef>
                </c:val>
                <c:extLst xmlns:c15="http://schemas.microsoft.com/office/drawing/2012/chart">
                  <c:ext xmlns:c16="http://schemas.microsoft.com/office/drawing/2014/chart" uri="{C3380CC4-5D6E-409C-BE32-E72D297353CC}">
                    <c16:uniqueId val="{00000003-1ED2-47AB-B5FC-EA6A6ED2F996}"/>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Microsoft Excel-Arbeitsblatt (neu).xlsx]Tabelle1'!$D$1</c15:sqref>
                        </c15:formulaRef>
                      </c:ext>
                    </c:extLst>
                    <c:strCache>
                      <c:ptCount val="1"/>
                      <c:pt idx="0">
                        <c:v>Braunkohle</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D$2:$D$13</c15:sqref>
                        </c15:formulaRef>
                      </c:ext>
                    </c:extLst>
                    <c:numCache>
                      <c:formatCode>General</c:formatCode>
                      <c:ptCount val="12"/>
                      <c:pt idx="0">
                        <c:v>6740.7849999999999</c:v>
                      </c:pt>
                      <c:pt idx="1">
                        <c:v>5986.991</c:v>
                      </c:pt>
                      <c:pt idx="2">
                        <c:v>6445.067</c:v>
                      </c:pt>
                      <c:pt idx="3">
                        <c:v>4374.33</c:v>
                      </c:pt>
                      <c:pt idx="4">
                        <c:v>4856.0429999999997</c:v>
                      </c:pt>
                      <c:pt idx="5">
                        <c:v>5275.5280000000002</c:v>
                      </c:pt>
                      <c:pt idx="6">
                        <c:v>5457.1360000000004</c:v>
                      </c:pt>
                      <c:pt idx="7">
                        <c:v>5393.0749999999998</c:v>
                      </c:pt>
                      <c:pt idx="8">
                        <c:v>5197.902</c:v>
                      </c:pt>
                      <c:pt idx="9">
                        <c:v>7134.009</c:v>
                      </c:pt>
                      <c:pt idx="10">
                        <c:v>7657.982</c:v>
                      </c:pt>
                      <c:pt idx="11">
                        <c:v>6578.0029999999997</c:v>
                      </c:pt>
                    </c:numCache>
                  </c:numRef>
                </c:val>
                <c:extLst xmlns:c15="http://schemas.microsoft.com/office/drawing/2012/chart">
                  <c:ext xmlns:c16="http://schemas.microsoft.com/office/drawing/2014/chart" uri="{C3380CC4-5D6E-409C-BE32-E72D297353CC}">
                    <c16:uniqueId val="{00000004-1ED2-47AB-B5FC-EA6A6ED2F996}"/>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Microsoft Excel-Arbeitsblatt (neu).xlsx]Tabelle1'!$E$1</c15:sqref>
                        </c15:formulaRef>
                      </c:ext>
                    </c:extLst>
                    <c:strCache>
                      <c:ptCount val="1"/>
                      <c:pt idx="0">
                        <c:v>Steinkohle</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E$2:$E$13</c15:sqref>
                        </c15:formulaRef>
                      </c:ext>
                    </c:extLst>
                    <c:numCache>
                      <c:formatCode>General</c:formatCode>
                      <c:ptCount val="12"/>
                      <c:pt idx="0">
                        <c:v>3407.665</c:v>
                      </c:pt>
                      <c:pt idx="1">
                        <c:v>2127.7220000000002</c:v>
                      </c:pt>
                      <c:pt idx="2">
                        <c:v>1983.5329999999999</c:v>
                      </c:pt>
                      <c:pt idx="3">
                        <c:v>1284.0940000000001</c:v>
                      </c:pt>
                      <c:pt idx="4">
                        <c:v>690.76599999999996</c:v>
                      </c:pt>
                      <c:pt idx="5">
                        <c:v>1036.692</c:v>
                      </c:pt>
                      <c:pt idx="6">
                        <c:v>744.14300000000003</c:v>
                      </c:pt>
                      <c:pt idx="7">
                        <c:v>1463.6869999999999</c:v>
                      </c:pt>
                      <c:pt idx="8">
                        <c:v>1885.3789999999999</c:v>
                      </c:pt>
                      <c:pt idx="9">
                        <c:v>2750.2539999999999</c:v>
                      </c:pt>
                      <c:pt idx="10">
                        <c:v>3685.5929999999998</c:v>
                      </c:pt>
                      <c:pt idx="11">
                        <c:v>3096.5540000000001</c:v>
                      </c:pt>
                    </c:numCache>
                  </c:numRef>
                </c:val>
                <c:extLst xmlns:c15="http://schemas.microsoft.com/office/drawing/2012/chart">
                  <c:ext xmlns:c16="http://schemas.microsoft.com/office/drawing/2014/chart" uri="{C3380CC4-5D6E-409C-BE32-E72D297353CC}">
                    <c16:uniqueId val="{00000005-1ED2-47AB-B5FC-EA6A6ED2F996}"/>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Microsoft Excel-Arbeitsblatt (neu).xlsx]Tabelle1'!$F$1</c15:sqref>
                        </c15:formulaRef>
                      </c:ext>
                    </c:extLst>
                    <c:strCache>
                      <c:ptCount val="1"/>
                      <c:pt idx="0">
                        <c:v>Öl</c:v>
                      </c:pt>
                    </c:strCache>
                  </c:strRef>
                </c:tx>
                <c:spPr>
                  <a:solidFill>
                    <a:schemeClr val="accent5"/>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F$2:$F$13</c15:sqref>
                        </c15:formulaRef>
                      </c:ext>
                    </c:extLst>
                    <c:numCache>
                      <c:formatCode>General</c:formatCode>
                      <c:ptCount val="12"/>
                      <c:pt idx="0">
                        <c:v>294.262</c:v>
                      </c:pt>
                      <c:pt idx="1">
                        <c:v>253.89599999999999</c:v>
                      </c:pt>
                      <c:pt idx="2">
                        <c:v>272.52699999999999</c:v>
                      </c:pt>
                      <c:pt idx="3">
                        <c:v>262.65899999999999</c:v>
                      </c:pt>
                      <c:pt idx="4">
                        <c:v>278.96899999999999</c:v>
                      </c:pt>
                      <c:pt idx="5">
                        <c:v>243.286</c:v>
                      </c:pt>
                      <c:pt idx="6">
                        <c:v>276.95400000000001</c:v>
                      </c:pt>
                      <c:pt idx="7">
                        <c:v>323.2</c:v>
                      </c:pt>
                      <c:pt idx="8">
                        <c:v>306.988</c:v>
                      </c:pt>
                      <c:pt idx="9">
                        <c:v>209.39699999999999</c:v>
                      </c:pt>
                      <c:pt idx="10">
                        <c:v>247.39099999999999</c:v>
                      </c:pt>
                      <c:pt idx="11">
                        <c:v>273.661</c:v>
                      </c:pt>
                    </c:numCache>
                  </c:numRef>
                </c:val>
                <c:extLst xmlns:c15="http://schemas.microsoft.com/office/drawing/2012/chart">
                  <c:ext xmlns:c16="http://schemas.microsoft.com/office/drawing/2014/chart" uri="{C3380CC4-5D6E-409C-BE32-E72D297353CC}">
                    <c16:uniqueId val="{00000006-1ED2-47AB-B5FC-EA6A6ED2F996}"/>
                  </c:ext>
                </c:extLst>
              </c15:ser>
            </c15:filteredBarSeries>
            <c15:filteredBarSeries>
              <c15:ser>
                <c:idx val="5"/>
                <c:order val="5"/>
                <c:tx>
                  <c:strRef>
                    <c:extLst xmlns:c15="http://schemas.microsoft.com/office/drawing/2012/chart">
                      <c:ext xmlns:c15="http://schemas.microsoft.com/office/drawing/2012/chart" uri="{02D57815-91ED-43cb-92C2-25804820EDAC}">
                        <c15:formulaRef>
                          <c15:sqref>'[Microsoft Excel-Arbeitsblatt (neu).xlsx]Tabelle1'!$G$1</c15:sqref>
                        </c15:formulaRef>
                      </c:ext>
                    </c:extLst>
                    <c:strCache>
                      <c:ptCount val="1"/>
                      <c:pt idx="0">
                        <c:v>Erdgas</c:v>
                      </c:pt>
                    </c:strCache>
                  </c:strRef>
                </c:tx>
                <c:spPr>
                  <a:solidFill>
                    <a:schemeClr val="accent6"/>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G$2:$G$13</c15:sqref>
                        </c15:formulaRef>
                      </c:ext>
                    </c:extLst>
                    <c:numCache>
                      <c:formatCode>General</c:formatCode>
                      <c:ptCount val="12"/>
                      <c:pt idx="0">
                        <c:v>6111.6729999999998</c:v>
                      </c:pt>
                      <c:pt idx="1">
                        <c:v>4429.7259999999997</c:v>
                      </c:pt>
                      <c:pt idx="2">
                        <c:v>4544.0529999999999</c:v>
                      </c:pt>
                      <c:pt idx="3">
                        <c:v>3539.1039999999998</c:v>
                      </c:pt>
                      <c:pt idx="4">
                        <c:v>2906.346</c:v>
                      </c:pt>
                      <c:pt idx="5">
                        <c:v>2317.6410000000001</c:v>
                      </c:pt>
                      <c:pt idx="6">
                        <c:v>2119.7280000000001</c:v>
                      </c:pt>
                      <c:pt idx="7">
                        <c:v>2370.5419999999999</c:v>
                      </c:pt>
                      <c:pt idx="8">
                        <c:v>2526.35</c:v>
                      </c:pt>
                      <c:pt idx="9">
                        <c:v>3853.2779999999998</c:v>
                      </c:pt>
                      <c:pt idx="10">
                        <c:v>7062.0640000000003</c:v>
                      </c:pt>
                      <c:pt idx="11">
                        <c:v>6663.2209999999995</c:v>
                      </c:pt>
                    </c:numCache>
                  </c:numRef>
                </c:val>
                <c:extLst xmlns:c15="http://schemas.microsoft.com/office/drawing/2012/chart">
                  <c:ext xmlns:c16="http://schemas.microsoft.com/office/drawing/2014/chart" uri="{C3380CC4-5D6E-409C-BE32-E72D297353CC}">
                    <c16:uniqueId val="{00000007-1ED2-47AB-B5FC-EA6A6ED2F996}"/>
                  </c:ext>
                </c:extLst>
              </c15:ser>
            </c15:filteredBarSeries>
            <c15:filteredBarSeries>
              <c15:ser>
                <c:idx val="6"/>
                <c:order val="6"/>
                <c:tx>
                  <c:strRef>
                    <c:extLst xmlns:c15="http://schemas.microsoft.com/office/drawing/2012/chart">
                      <c:ext xmlns:c15="http://schemas.microsoft.com/office/drawing/2012/chart" uri="{02D57815-91ED-43cb-92C2-25804820EDAC}">
                        <c15:formulaRef>
                          <c15:sqref>'[Microsoft Excel-Arbeitsblatt (neu).xlsx]Tabelle1'!$H$1</c15:sqref>
                        </c15:formulaRef>
                      </c:ext>
                    </c:extLst>
                    <c:strCache>
                      <c:ptCount val="1"/>
                      <c:pt idx="0">
                        <c:v>Geothermie</c:v>
                      </c:pt>
                    </c:strCache>
                  </c:strRef>
                </c:tx>
                <c:spPr>
                  <a:solidFill>
                    <a:schemeClr val="accent1">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H$2:$H$13</c15:sqref>
                        </c15:formulaRef>
                      </c:ext>
                    </c:extLst>
                    <c:numCache>
                      <c:formatCode>General</c:formatCode>
                      <c:ptCount val="12"/>
                      <c:pt idx="0">
                        <c:v>15.648999999999999</c:v>
                      </c:pt>
                      <c:pt idx="1">
                        <c:v>15.698</c:v>
                      </c:pt>
                      <c:pt idx="2">
                        <c:v>16.259</c:v>
                      </c:pt>
                      <c:pt idx="3">
                        <c:v>14.019</c:v>
                      </c:pt>
                      <c:pt idx="4">
                        <c:v>12.675000000000001</c:v>
                      </c:pt>
                      <c:pt idx="5">
                        <c:v>10.345000000000001</c:v>
                      </c:pt>
                      <c:pt idx="6">
                        <c:v>9.9339999999999993</c:v>
                      </c:pt>
                      <c:pt idx="7">
                        <c:v>11.505000000000001</c:v>
                      </c:pt>
                      <c:pt idx="8">
                        <c:v>12.794</c:v>
                      </c:pt>
                      <c:pt idx="9">
                        <c:v>14.43</c:v>
                      </c:pt>
                      <c:pt idx="10">
                        <c:v>15.243</c:v>
                      </c:pt>
                      <c:pt idx="11">
                        <c:v>12.593999999999999</c:v>
                      </c:pt>
                    </c:numCache>
                  </c:numRef>
                </c:val>
                <c:extLst xmlns:c15="http://schemas.microsoft.com/office/drawing/2012/chart">
                  <c:ext xmlns:c16="http://schemas.microsoft.com/office/drawing/2014/chart" uri="{C3380CC4-5D6E-409C-BE32-E72D297353CC}">
                    <c16:uniqueId val="{00000008-1ED2-47AB-B5FC-EA6A6ED2F996}"/>
                  </c:ext>
                </c:extLst>
              </c15:ser>
            </c15:filteredBarSeries>
            <c15:filteredBarSeries>
              <c15:ser>
                <c:idx val="7"/>
                <c:order val="7"/>
                <c:tx>
                  <c:strRef>
                    <c:extLst xmlns:c15="http://schemas.microsoft.com/office/drawing/2012/chart">
                      <c:ext xmlns:c15="http://schemas.microsoft.com/office/drawing/2012/chart" uri="{02D57815-91ED-43cb-92C2-25804820EDAC}">
                        <c15:formulaRef>
                          <c15:sqref>'[Microsoft Excel-Arbeitsblatt (neu).xlsx]Tabelle1'!$I$1</c15:sqref>
                        </c15:formulaRef>
                      </c:ext>
                    </c:extLst>
                    <c:strCache>
                      <c:ptCount val="1"/>
                      <c:pt idx="0">
                        <c:v>Speicherwasser</c:v>
                      </c:pt>
                    </c:strCache>
                  </c:strRef>
                </c:tx>
                <c:spPr>
                  <a:solidFill>
                    <a:schemeClr val="accent2">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I$2:$I$13</c15:sqref>
                        </c15:formulaRef>
                      </c:ext>
                    </c:extLst>
                    <c:numCache>
                      <c:formatCode>General</c:formatCode>
                      <c:ptCount val="12"/>
                      <c:pt idx="0">
                        <c:v>95.76</c:v>
                      </c:pt>
                      <c:pt idx="1">
                        <c:v>54.768999999999998</c:v>
                      </c:pt>
                      <c:pt idx="2">
                        <c:v>47.136000000000003</c:v>
                      </c:pt>
                      <c:pt idx="3">
                        <c:v>54.247999999999998</c:v>
                      </c:pt>
                      <c:pt idx="4">
                        <c:v>112.01900000000001</c:v>
                      </c:pt>
                      <c:pt idx="5">
                        <c:v>174.34</c:v>
                      </c:pt>
                      <c:pt idx="6">
                        <c:v>210.976</c:v>
                      </c:pt>
                      <c:pt idx="7">
                        <c:v>108.214</c:v>
                      </c:pt>
                      <c:pt idx="8">
                        <c:v>78.033000000000001</c:v>
                      </c:pt>
                      <c:pt idx="9">
                        <c:v>107.90600000000001</c:v>
                      </c:pt>
                      <c:pt idx="10">
                        <c:v>64.210999999999999</c:v>
                      </c:pt>
                      <c:pt idx="11">
                        <c:v>54.606000000000002</c:v>
                      </c:pt>
                    </c:numCache>
                  </c:numRef>
                </c:val>
                <c:extLst xmlns:c15="http://schemas.microsoft.com/office/drawing/2012/chart">
                  <c:ext xmlns:c16="http://schemas.microsoft.com/office/drawing/2014/chart" uri="{C3380CC4-5D6E-409C-BE32-E72D297353CC}">
                    <c16:uniqueId val="{00000009-1ED2-47AB-B5FC-EA6A6ED2F996}"/>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Microsoft Excel-Arbeitsblatt (neu).xlsx]Tabelle1'!$J$1</c15:sqref>
                        </c15:formulaRef>
                      </c:ext>
                    </c:extLst>
                    <c:strCache>
                      <c:ptCount val="1"/>
                      <c:pt idx="0">
                        <c:v>Andere</c:v>
                      </c:pt>
                    </c:strCache>
                  </c:strRef>
                </c:tx>
                <c:spPr>
                  <a:solidFill>
                    <a:schemeClr val="accent3">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J$2:$J$13</c15:sqref>
                        </c15:formulaRef>
                      </c:ext>
                    </c:extLst>
                    <c:numCache>
                      <c:formatCode>General</c:formatCode>
                      <c:ptCount val="12"/>
                      <c:pt idx="0">
                        <c:v>166.071</c:v>
                      </c:pt>
                      <c:pt idx="1">
                        <c:v>139.779</c:v>
                      </c:pt>
                      <c:pt idx="2">
                        <c:v>153.29599999999999</c:v>
                      </c:pt>
                      <c:pt idx="3">
                        <c:v>127.824</c:v>
                      </c:pt>
                      <c:pt idx="4">
                        <c:v>88.114000000000004</c:v>
                      </c:pt>
                      <c:pt idx="5">
                        <c:v>81.155000000000001</c:v>
                      </c:pt>
                      <c:pt idx="6">
                        <c:v>85.034999999999997</c:v>
                      </c:pt>
                      <c:pt idx="7">
                        <c:v>87.747</c:v>
                      </c:pt>
                      <c:pt idx="8">
                        <c:v>103.916</c:v>
                      </c:pt>
                      <c:pt idx="9">
                        <c:v>123.48399999999999</c:v>
                      </c:pt>
                      <c:pt idx="10">
                        <c:v>150.79</c:v>
                      </c:pt>
                      <c:pt idx="11">
                        <c:v>162.57499999999999</c:v>
                      </c:pt>
                    </c:numCache>
                  </c:numRef>
                </c:val>
                <c:extLst xmlns:c15="http://schemas.microsoft.com/office/drawing/2012/chart">
                  <c:ext xmlns:c16="http://schemas.microsoft.com/office/drawing/2014/chart" uri="{C3380CC4-5D6E-409C-BE32-E72D297353CC}">
                    <c16:uniqueId val="{0000000A-1ED2-47AB-B5FC-EA6A6ED2F996}"/>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Microsoft Excel-Arbeitsblatt (neu).xlsx]Tabelle1'!$K$1</c15:sqref>
                        </c15:formulaRef>
                      </c:ext>
                    </c:extLst>
                    <c:strCache>
                      <c:ptCount val="1"/>
                      <c:pt idx="0">
                        <c:v>Erneuerbarer Müll</c:v>
                      </c:pt>
                    </c:strCache>
                  </c:strRef>
                </c:tx>
                <c:spPr>
                  <a:solidFill>
                    <a:schemeClr val="accent4">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K$2:$K$13</c15:sqref>
                        </c15:formulaRef>
                      </c:ext>
                    </c:extLst>
                    <c:numCache>
                      <c:formatCode>General</c:formatCode>
                      <c:ptCount val="12"/>
                      <c:pt idx="0">
                        <c:v>337.17099999999999</c:v>
                      </c:pt>
                      <c:pt idx="1">
                        <c:v>375.39100000000002</c:v>
                      </c:pt>
                      <c:pt idx="2">
                        <c:v>382.21100000000001</c:v>
                      </c:pt>
                      <c:pt idx="3">
                        <c:v>314.32100000000003</c:v>
                      </c:pt>
                      <c:pt idx="4">
                        <c:v>369.58300000000003</c:v>
                      </c:pt>
                      <c:pt idx="5">
                        <c:v>285.74</c:v>
                      </c:pt>
                      <c:pt idx="6">
                        <c:v>430.35</c:v>
                      </c:pt>
                      <c:pt idx="7">
                        <c:v>386.24700000000001</c:v>
                      </c:pt>
                      <c:pt idx="8">
                        <c:v>367.41399999999999</c:v>
                      </c:pt>
                      <c:pt idx="9">
                        <c:v>394.38099999999997</c:v>
                      </c:pt>
                      <c:pt idx="10">
                        <c:v>362.07600000000002</c:v>
                      </c:pt>
                      <c:pt idx="11">
                        <c:v>363.40199999999999</c:v>
                      </c:pt>
                    </c:numCache>
                  </c:numRef>
                </c:val>
                <c:extLst xmlns:c15="http://schemas.microsoft.com/office/drawing/2012/chart">
                  <c:ext xmlns:c16="http://schemas.microsoft.com/office/drawing/2014/chart" uri="{C3380CC4-5D6E-409C-BE32-E72D297353CC}">
                    <c16:uniqueId val="{0000000B-1ED2-47AB-B5FC-EA6A6ED2F996}"/>
                  </c:ext>
                </c:extLst>
              </c15:ser>
            </c15:filteredBarSeries>
            <c15:filteredBarSeries>
              <c15:ser>
                <c:idx val="10"/>
                <c:order val="10"/>
                <c:tx>
                  <c:strRef>
                    <c:extLst xmlns:c15="http://schemas.microsoft.com/office/drawing/2012/chart">
                      <c:ext xmlns:c15="http://schemas.microsoft.com/office/drawing/2012/chart" uri="{02D57815-91ED-43cb-92C2-25804820EDAC}">
                        <c15:formulaRef>
                          <c15:sqref>'[Microsoft Excel-Arbeitsblatt (neu).xlsx]Tabelle1'!$L$1</c15:sqref>
                        </c15:formulaRef>
                      </c:ext>
                    </c:extLst>
                    <c:strCache>
                      <c:ptCount val="1"/>
                      <c:pt idx="0">
                        <c:v>Nicht-erneuerbarer Müll</c:v>
                      </c:pt>
                    </c:strCache>
                  </c:strRef>
                </c:tx>
                <c:spPr>
                  <a:solidFill>
                    <a:schemeClr val="accent5">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L$2:$L$13</c15:sqref>
                        </c15:formulaRef>
                      </c:ext>
                    </c:extLst>
                    <c:numCache>
                      <c:formatCode>General</c:formatCode>
                      <c:ptCount val="12"/>
                      <c:pt idx="0">
                        <c:v>376.06900000000002</c:v>
                      </c:pt>
                      <c:pt idx="1">
                        <c:v>418.69900000000001</c:v>
                      </c:pt>
                      <c:pt idx="2">
                        <c:v>426.30500000000001</c:v>
                      </c:pt>
                      <c:pt idx="3">
                        <c:v>350.58199999999999</c:v>
                      </c:pt>
                      <c:pt idx="4">
                        <c:v>412.221</c:v>
                      </c:pt>
                      <c:pt idx="5">
                        <c:v>318.70400000000001</c:v>
                      </c:pt>
                      <c:pt idx="6">
                        <c:v>479.99700000000001</c:v>
                      </c:pt>
                      <c:pt idx="7">
                        <c:v>430.80599999999998</c:v>
                      </c:pt>
                      <c:pt idx="8">
                        <c:v>409.80099999999999</c:v>
                      </c:pt>
                      <c:pt idx="9">
                        <c:v>439.87900000000002</c:v>
                      </c:pt>
                      <c:pt idx="10">
                        <c:v>403.84699999999998</c:v>
                      </c:pt>
                      <c:pt idx="11">
                        <c:v>405.32600000000002</c:v>
                      </c:pt>
                    </c:numCache>
                  </c:numRef>
                </c:val>
                <c:extLst xmlns:c15="http://schemas.microsoft.com/office/drawing/2012/chart">
                  <c:ext xmlns:c16="http://schemas.microsoft.com/office/drawing/2014/chart" uri="{C3380CC4-5D6E-409C-BE32-E72D297353CC}">
                    <c16:uniqueId val="{0000000C-1ED2-47AB-B5FC-EA6A6ED2F996}"/>
                  </c:ext>
                </c:extLst>
              </c15:ser>
            </c15:filteredBarSeries>
            <c15:filteredBarSeries>
              <c15:ser>
                <c:idx val="11"/>
                <c:order val="11"/>
                <c:tx>
                  <c:strRef>
                    <c:extLst xmlns:c15="http://schemas.microsoft.com/office/drawing/2012/chart">
                      <c:ext xmlns:c15="http://schemas.microsoft.com/office/drawing/2012/chart" uri="{02D57815-91ED-43cb-92C2-25804820EDAC}">
                        <c15:formulaRef>
                          <c15:sqref>'[Microsoft Excel-Arbeitsblatt (neu).xlsx]Tabelle1'!$M$1</c15:sqref>
                        </c15:formulaRef>
                      </c:ext>
                    </c:extLst>
                    <c:strCache>
                      <c:ptCount val="1"/>
                      <c:pt idx="0">
                        <c:v>Wind Offshore</c:v>
                      </c:pt>
                    </c:strCache>
                  </c:strRef>
                </c:tx>
                <c:spPr>
                  <a:solidFill>
                    <a:schemeClr val="accent6">
                      <a:lumMod val="6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M$2:$M$13</c15:sqref>
                        </c15:formulaRef>
                      </c:ext>
                    </c:extLst>
                    <c:numCache>
                      <c:formatCode>General</c:formatCode>
                      <c:ptCount val="12"/>
                      <c:pt idx="0">
                        <c:v>3036.6610000000001</c:v>
                      </c:pt>
                      <c:pt idx="1">
                        <c:v>2780.402</c:v>
                      </c:pt>
                      <c:pt idx="2">
                        <c:v>2736.8359999999998</c:v>
                      </c:pt>
                      <c:pt idx="3">
                        <c:v>2186.0300000000002</c:v>
                      </c:pt>
                      <c:pt idx="4">
                        <c:v>1528.3140000000001</c:v>
                      </c:pt>
                      <c:pt idx="5">
                        <c:v>1552.9639999999999</c:v>
                      </c:pt>
                      <c:pt idx="6">
                        <c:v>1636.008</c:v>
                      </c:pt>
                      <c:pt idx="7">
                        <c:v>1426.2280000000001</c:v>
                      </c:pt>
                      <c:pt idx="8">
                        <c:v>1822.066</c:v>
                      </c:pt>
                      <c:pt idx="9">
                        <c:v>2261.5279999999998</c:v>
                      </c:pt>
                      <c:pt idx="10">
                        <c:v>2233.527</c:v>
                      </c:pt>
                      <c:pt idx="11">
                        <c:v>2482.59</c:v>
                      </c:pt>
                    </c:numCache>
                  </c:numRef>
                </c:val>
                <c:extLst xmlns:c15="http://schemas.microsoft.com/office/drawing/2012/chart">
                  <c:ext xmlns:c16="http://schemas.microsoft.com/office/drawing/2014/chart" uri="{C3380CC4-5D6E-409C-BE32-E72D297353CC}">
                    <c16:uniqueId val="{0000000D-1ED2-47AB-B5FC-EA6A6ED2F996}"/>
                  </c:ext>
                </c:extLst>
              </c15:ser>
            </c15:filteredBarSeries>
            <c15:filteredBarSeries>
              <c15:ser>
                <c:idx val="13"/>
                <c:order val="13"/>
                <c:tx>
                  <c:strRef>
                    <c:extLst xmlns:c15="http://schemas.microsoft.com/office/drawing/2012/chart">
                      <c:ext xmlns:c15="http://schemas.microsoft.com/office/drawing/2012/chart" uri="{02D57815-91ED-43cb-92C2-25804820EDAC}">
                        <c15:formulaRef>
                          <c15:sqref>'[Microsoft Excel-Arbeitsblatt (neu).xlsx]Tabelle1'!$O$1</c15:sqref>
                        </c15:formulaRef>
                      </c:ext>
                    </c:extLst>
                    <c:strCache>
                      <c:ptCount val="1"/>
                      <c:pt idx="0">
                        <c:v>Solar generation</c:v>
                      </c:pt>
                    </c:strCache>
                  </c:strRef>
                </c:tx>
                <c:spPr>
                  <a:solidFill>
                    <a:schemeClr val="accent2">
                      <a:lumMod val="80000"/>
                      <a:lumOff val="20000"/>
                    </a:schemeClr>
                  </a:solidFill>
                  <a:ln>
                    <a:noFill/>
                  </a:ln>
                  <a:effectLst/>
                </c:spPr>
                <c:invertIfNegative val="0"/>
                <c:cat>
                  <c:strRef>
                    <c:extLst xmlns:c15="http://schemas.microsoft.com/office/drawing/2012/chart">
                      <c:ext xmlns:c15="http://schemas.microsoft.com/office/drawing/2012/chart" uri="{02D57815-91ED-43cb-92C2-25804820EDAC}">
                        <c15:formulaRef>
                          <c15:sqref>'[Microsoft Excel-Arbeitsblatt (neu).xlsx]Tabelle1'!$A$2:$A$13</c15:sqref>
                        </c15:formulaRef>
                      </c:ext>
                    </c:extLst>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extLst xmlns:c15="http://schemas.microsoft.com/office/drawing/2012/chart">
                      <c:ext xmlns:c15="http://schemas.microsoft.com/office/drawing/2012/chart" uri="{02D57815-91ED-43cb-92C2-25804820EDAC}">
                        <c15:formulaRef>
                          <c15:sqref>'[Microsoft Excel-Arbeitsblatt (neu).xlsx]Tabelle1'!$O$2:$O$13</c15:sqref>
                        </c15:formulaRef>
                      </c:ext>
                    </c:extLst>
                    <c:numCache>
                      <c:formatCode>General</c:formatCode>
                      <c:ptCount val="12"/>
                      <c:pt idx="0">
                        <c:v>1378.011</c:v>
                      </c:pt>
                      <c:pt idx="1">
                        <c:v>2140.6979999999999</c:v>
                      </c:pt>
                      <c:pt idx="2">
                        <c:v>4550.3869999999997</c:v>
                      </c:pt>
                      <c:pt idx="3">
                        <c:v>6154.88</c:v>
                      </c:pt>
                      <c:pt idx="4">
                        <c:v>8029.1019999999999</c:v>
                      </c:pt>
                      <c:pt idx="5">
                        <c:v>8273.6650000000009</c:v>
                      </c:pt>
                      <c:pt idx="6">
                        <c:v>8668.4830000000002</c:v>
                      </c:pt>
                      <c:pt idx="7">
                        <c:v>8366.8960000000006</c:v>
                      </c:pt>
                      <c:pt idx="8">
                        <c:v>5930.1909999999998</c:v>
                      </c:pt>
                      <c:pt idx="9">
                        <c:v>3570.569</c:v>
                      </c:pt>
                      <c:pt idx="10">
                        <c:v>1547.4770000000001</c:v>
                      </c:pt>
                      <c:pt idx="11">
                        <c:v>1095.9090000000001</c:v>
                      </c:pt>
                    </c:numCache>
                  </c:numRef>
                </c:val>
                <c:extLst xmlns:c15="http://schemas.microsoft.com/office/drawing/2012/chart">
                  <c:ext xmlns:c16="http://schemas.microsoft.com/office/drawing/2014/chart" uri="{C3380CC4-5D6E-409C-BE32-E72D297353CC}">
                    <c16:uniqueId val="{0000000E-1ED2-47AB-B5FC-EA6A6ED2F996}"/>
                  </c:ext>
                </c:extLst>
              </c15:ser>
            </c15:filteredBarSeries>
          </c:ext>
        </c:extLst>
      </c:barChart>
      <c:lineChart>
        <c:grouping val="standard"/>
        <c:varyColors val="0"/>
        <c:ser>
          <c:idx val="14"/>
          <c:order val="14"/>
          <c:tx>
            <c:strRef>
              <c:f>'[Microsoft Excel-Arbeitsblatt (neu).xlsx]Tabelle1'!$P$1</c:f>
              <c:strCache>
                <c:ptCount val="1"/>
                <c:pt idx="0">
                  <c:v>Number of negative prices</c:v>
                </c:pt>
              </c:strCache>
            </c:strRef>
          </c:tx>
          <c:spPr>
            <a:ln w="28575" cap="rnd">
              <a:solidFill>
                <a:schemeClr val="tx2"/>
              </a:solidFill>
              <a:round/>
            </a:ln>
            <a:effectLst/>
          </c:spPr>
          <c:marker>
            <c:symbol val="none"/>
          </c:marker>
          <c:val>
            <c:numRef>
              <c:f>'[Microsoft Excel-Arbeitsblatt (neu).xlsx]Tabelle1'!$P$2:$P$13</c:f>
              <c:numCache>
                <c:formatCode>General</c:formatCode>
                <c:ptCount val="12"/>
                <c:pt idx="0">
                  <c:v>14</c:v>
                </c:pt>
                <c:pt idx="1">
                  <c:v>4</c:v>
                </c:pt>
                <c:pt idx="2">
                  <c:v>12</c:v>
                </c:pt>
                <c:pt idx="3">
                  <c:v>50</c:v>
                </c:pt>
                <c:pt idx="4">
                  <c:v>78</c:v>
                </c:pt>
                <c:pt idx="5">
                  <c:v>66</c:v>
                </c:pt>
                <c:pt idx="6">
                  <c:v>81</c:v>
                </c:pt>
                <c:pt idx="7">
                  <c:v>68</c:v>
                </c:pt>
                <c:pt idx="8">
                  <c:v>40</c:v>
                </c:pt>
                <c:pt idx="9">
                  <c:v>25</c:v>
                </c:pt>
                <c:pt idx="10">
                  <c:v>11</c:v>
                </c:pt>
                <c:pt idx="11">
                  <c:v>8</c:v>
                </c:pt>
              </c:numCache>
            </c:numRef>
          </c:val>
          <c:smooth val="0"/>
          <c:extLst>
            <c:ext xmlns:c16="http://schemas.microsoft.com/office/drawing/2014/chart" uri="{C3380CC4-5D6E-409C-BE32-E72D297353CC}">
              <c16:uniqueId val="{00000001-1ED2-47AB-B5FC-EA6A6ED2F996}"/>
            </c:ext>
          </c:extLst>
        </c:ser>
        <c:dLbls>
          <c:showLegendKey val="0"/>
          <c:showVal val="0"/>
          <c:showCatName val="0"/>
          <c:showSerName val="0"/>
          <c:showPercent val="0"/>
          <c:showBubbleSize val="0"/>
        </c:dLbls>
        <c:marker val="1"/>
        <c:smooth val="0"/>
        <c:axId val="643391775"/>
        <c:axId val="643386975"/>
      </c:lineChart>
      <c:catAx>
        <c:axId val="1054113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222026095"/>
        <c:crosses val="autoZero"/>
        <c:auto val="1"/>
        <c:lblAlgn val="ctr"/>
        <c:lblOffset val="100"/>
        <c:noMultiLvlLbl val="0"/>
      </c:catAx>
      <c:valAx>
        <c:axId val="122202609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sz="1000" b="0" i="0" u="none" strike="noStrike" kern="1200" baseline="0" dirty="0" err="1">
                    <a:solidFill>
                      <a:srgbClr val="08B9CD"/>
                    </a:solidFill>
                  </a:rPr>
                  <a:t>Onshore</a:t>
                </a:r>
                <a:r>
                  <a:rPr lang="de-DE" sz="1000" b="0" i="0" u="none" strike="noStrike" kern="1200" baseline="0" dirty="0">
                    <a:solidFill>
                      <a:srgbClr val="08B9CD"/>
                    </a:solidFill>
                  </a:rPr>
                  <a:t> wind </a:t>
                </a:r>
                <a:r>
                  <a:rPr lang="de-DE" sz="1000" b="0" i="0" u="none" strike="noStrike" kern="1200" baseline="0" dirty="0" err="1">
                    <a:solidFill>
                      <a:srgbClr val="08B9CD"/>
                    </a:solidFill>
                  </a:rPr>
                  <a:t>net</a:t>
                </a:r>
                <a:r>
                  <a:rPr lang="de-DE" sz="1000" b="0" i="0" u="none" strike="noStrike" kern="1200" baseline="0" dirty="0">
                    <a:solidFill>
                      <a:srgbClr val="08B9CD"/>
                    </a:solidFill>
                  </a:rPr>
                  <a:t> </a:t>
                </a:r>
                <a:r>
                  <a:rPr lang="de-DE" sz="1000" b="0" i="0" u="none" strike="noStrike" kern="1200" baseline="0" dirty="0" err="1">
                    <a:solidFill>
                      <a:srgbClr val="08B9CD"/>
                    </a:solidFill>
                  </a:rPr>
                  <a:t>electricity</a:t>
                </a:r>
                <a:r>
                  <a:rPr lang="de-DE" sz="1000" b="0" i="0" u="none" strike="noStrike" kern="1200" baseline="0" dirty="0">
                    <a:solidFill>
                      <a:srgbClr val="08B9CD"/>
                    </a:solidFill>
                  </a:rPr>
                  <a:t> generation in </a:t>
                </a:r>
                <a:r>
                  <a:rPr lang="de-DE" sz="1000" b="0" i="0" u="none" strike="noStrike" kern="1200" baseline="0" dirty="0" err="1">
                    <a:solidFill>
                      <a:srgbClr val="08B9CD"/>
                    </a:solidFill>
                  </a:rPr>
                  <a:t>GWh</a:t>
                </a:r>
                <a:endParaRPr lang="de-DE" sz="1000" b="0" i="0" u="none" strike="noStrike" kern="1200" baseline="0" dirty="0">
                  <a:solidFill>
                    <a:srgbClr val="08B9CD"/>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054113007"/>
        <c:crosses val="autoZero"/>
        <c:crossBetween val="between"/>
      </c:valAx>
      <c:valAx>
        <c:axId val="643386975"/>
        <c:scaling>
          <c:orientation val="minMax"/>
        </c:scaling>
        <c:delete val="0"/>
        <c:axPos val="r"/>
        <c:title>
          <c:tx>
            <c:rich>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r>
                  <a:rPr lang="de-DE" sz="1000" b="0" i="0" u="none" strike="noStrike" kern="1200" baseline="0" dirty="0">
                    <a:solidFill>
                      <a:srgbClr val="3EC8D8"/>
                    </a:solidFill>
                  </a:rPr>
                  <a:t>Number of negative </a:t>
                </a:r>
                <a:r>
                  <a:rPr lang="de-DE" sz="1000" b="0" i="0" u="none" strike="noStrike" kern="1200" baseline="0" dirty="0" err="1">
                    <a:solidFill>
                      <a:srgbClr val="3EC8D8"/>
                    </a:solidFill>
                  </a:rPr>
                  <a:t>hours</a:t>
                </a:r>
                <a:r>
                  <a:rPr lang="de-DE" sz="1000" b="0" i="0" u="none" strike="noStrike" kern="1200" baseline="0" dirty="0">
                    <a:solidFill>
                      <a:srgbClr val="3EC8D8"/>
                    </a:solidFill>
                  </a:rPr>
                  <a:t> 2024</a:t>
                </a:r>
              </a:p>
            </c:rich>
          </c:tx>
          <c:overlay val="0"/>
          <c:spPr>
            <a:noFill/>
            <a:ln>
              <a:noFill/>
            </a:ln>
            <a:effectLst/>
          </c:spPr>
          <c:txPr>
            <a:bodyPr rot="-540000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000" b="0" i="0" u="none" strike="noStrike" kern="1200" baseline="0">
                  <a:solidFill>
                    <a:sysClr val="windowText" lastClr="000000">
                      <a:lumMod val="65000"/>
                      <a:lumOff val="35000"/>
                    </a:sysClr>
                  </a:solidFill>
                  <a:latin typeface="+mn-lt"/>
                  <a:ea typeface="+mn-ea"/>
                  <a:cs typeface="+mn-cs"/>
                </a:defRPr>
              </a:pPr>
              <a:endParaRPr lang="de-D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643391775"/>
        <c:crosses val="max"/>
        <c:crossBetween val="between"/>
      </c:valAx>
      <c:catAx>
        <c:axId val="643391775"/>
        <c:scaling>
          <c:orientation val="minMax"/>
        </c:scaling>
        <c:delete val="1"/>
        <c:axPos val="b"/>
        <c:majorTickMark val="out"/>
        <c:minorTickMark val="none"/>
        <c:tickLblPos val="nextTo"/>
        <c:crossAx val="643386975"/>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Microsoft Excel-Arbeitsblatt (neu).xlsx]Tabelle1'!$B$2</c:f>
              <c:strCache>
                <c:ptCount val="1"/>
                <c:pt idx="0">
                  <c:v>solar profile value</c:v>
                </c:pt>
              </c:strCache>
            </c:strRef>
          </c:tx>
          <c:spPr>
            <a:ln w="28575" cap="rnd">
              <a:solidFill>
                <a:schemeClr val="accent3"/>
              </a:solidFill>
              <a:round/>
            </a:ln>
            <a:effectLst/>
          </c:spPr>
          <c:marker>
            <c:symbol val="none"/>
          </c:marker>
          <c:cat>
            <c:numRef>
              <c:f>'[Microsoft Excel-Arbeitsblatt (neu).xlsx]Tabelle1'!$A$3:$A$38</c:f>
              <c:numCache>
                <c:formatCode>m/d/yyyy</c:formatCode>
                <c:ptCount val="36"/>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numCache>
            </c:numRef>
          </c:cat>
          <c:val>
            <c:numRef>
              <c:f>'[Microsoft Excel-Arbeitsblatt (neu).xlsx]Tabelle1'!$B$3:$B$38</c:f>
              <c:numCache>
                <c:formatCode>General</c:formatCode>
                <c:ptCount val="36"/>
                <c:pt idx="0" formatCode="0%">
                  <c:v>1.05752011869037</c:v>
                </c:pt>
                <c:pt idx="1">
                  <c:v>0.91803732370548496</c:v>
                </c:pt>
                <c:pt idx="2">
                  <c:v>0.82319141687728803</c:v>
                </c:pt>
                <c:pt idx="3">
                  <c:v>0.877144726581084</c:v>
                </c:pt>
                <c:pt idx="4">
                  <c:v>0.846679878923986</c:v>
                </c:pt>
                <c:pt idx="5">
                  <c:v>0.86464657605791595</c:v>
                </c:pt>
                <c:pt idx="6">
                  <c:v>0.82597013801515595</c:v>
                </c:pt>
                <c:pt idx="7">
                  <c:v>0.86019047616697097</c:v>
                </c:pt>
                <c:pt idx="8">
                  <c:v>0.92403906913021205</c:v>
                </c:pt>
                <c:pt idx="9">
                  <c:v>0.84072522108085301</c:v>
                </c:pt>
                <c:pt idx="10">
                  <c:v>0.87629799067223102</c:v>
                </c:pt>
                <c:pt idx="11">
                  <c:v>1.12164411618025</c:v>
                </c:pt>
                <c:pt idx="12">
                  <c:v>1.07323249163194</c:v>
                </c:pt>
                <c:pt idx="13">
                  <c:v>0.96960737571495004</c:v>
                </c:pt>
                <c:pt idx="14">
                  <c:v>0.86733017970837101</c:v>
                </c:pt>
                <c:pt idx="15">
                  <c:v>0.78745711759271197</c:v>
                </c:pt>
                <c:pt idx="16">
                  <c:v>0.70717579334682301</c:v>
                </c:pt>
                <c:pt idx="17">
                  <c:v>0.76406224007048895</c:v>
                </c:pt>
                <c:pt idx="18">
                  <c:v>0.76947641296219005</c:v>
                </c:pt>
                <c:pt idx="19">
                  <c:v>0.80763872609760801</c:v>
                </c:pt>
                <c:pt idx="20">
                  <c:v>0.74295087431819995</c:v>
                </c:pt>
                <c:pt idx="21">
                  <c:v>0.77690681748201096</c:v>
                </c:pt>
                <c:pt idx="22">
                  <c:v>0.96005427566688595</c:v>
                </c:pt>
                <c:pt idx="23">
                  <c:v>1.0048024901080901</c:v>
                </c:pt>
                <c:pt idx="24">
                  <c:v>1.01366771785365</c:v>
                </c:pt>
                <c:pt idx="25">
                  <c:v>0.96390646601289398</c:v>
                </c:pt>
                <c:pt idx="26">
                  <c:v>0.75858608121084803</c:v>
                </c:pt>
                <c:pt idx="27">
                  <c:v>0.67685202230008201</c:v>
                </c:pt>
                <c:pt idx="28">
                  <c:v>0.58103591430055901</c:v>
                </c:pt>
                <c:pt idx="29">
                  <c:v>0.58747291854253902</c:v>
                </c:pt>
                <c:pt idx="30">
                  <c:v>0.57590332904485098</c:v>
                </c:pt>
                <c:pt idx="31">
                  <c:v>0.56041504195279601</c:v>
                </c:pt>
                <c:pt idx="32">
                  <c:v>0.59452803112568897</c:v>
                </c:pt>
                <c:pt idx="33">
                  <c:v>0.77464589837834097</c:v>
                </c:pt>
                <c:pt idx="34">
                  <c:v>0.894843220414544</c:v>
                </c:pt>
                <c:pt idx="35">
                  <c:v>1.1383643788733799</c:v>
                </c:pt>
              </c:numCache>
            </c:numRef>
          </c:val>
          <c:smooth val="0"/>
          <c:extLst>
            <c:ext xmlns:c16="http://schemas.microsoft.com/office/drawing/2014/chart" uri="{C3380CC4-5D6E-409C-BE32-E72D297353CC}">
              <c16:uniqueId val="{00000000-F3E8-4FBE-B253-3A90A4351C9F}"/>
            </c:ext>
          </c:extLst>
        </c:ser>
        <c:dLbls>
          <c:showLegendKey val="0"/>
          <c:showVal val="0"/>
          <c:showCatName val="0"/>
          <c:showSerName val="0"/>
          <c:showPercent val="0"/>
          <c:showBubbleSize val="0"/>
        </c:dLbls>
        <c:smooth val="0"/>
        <c:axId val="920827103"/>
        <c:axId val="920815103"/>
        <c:extLst>
          <c:ext xmlns:c15="http://schemas.microsoft.com/office/drawing/2012/chart" uri="{02D57815-91ED-43cb-92C2-25804820EDAC}">
            <c15:filteredLineSeries>
              <c15:ser>
                <c:idx val="1"/>
                <c:order val="1"/>
                <c:tx>
                  <c:strRef>
                    <c:extLst>
                      <c:ext uri="{02D57815-91ED-43cb-92C2-25804820EDAC}">
                        <c15:formulaRef>
                          <c15:sqref>'[Microsoft Excel-Arbeitsblatt (neu).xlsx]Tabelle1'!$C$2</c15:sqref>
                        </c15:formulaRef>
                      </c:ext>
                    </c:extLst>
                    <c:strCache>
                      <c:ptCount val="1"/>
                      <c:pt idx="0">
                        <c:v>onshore wind profile value</c:v>
                      </c:pt>
                    </c:strCache>
                  </c:strRef>
                </c:tx>
                <c:spPr>
                  <a:ln w="28575" cap="rnd">
                    <a:solidFill>
                      <a:schemeClr val="accent2"/>
                    </a:solidFill>
                    <a:round/>
                  </a:ln>
                  <a:effectLst/>
                </c:spPr>
                <c:marker>
                  <c:symbol val="none"/>
                </c:marker>
                <c:cat>
                  <c:numRef>
                    <c:extLst>
                      <c:ext uri="{02D57815-91ED-43cb-92C2-25804820EDAC}">
                        <c15:formulaRef>
                          <c15:sqref>'[Microsoft Excel-Arbeitsblatt (neu).xlsx]Tabelle1'!$A$3:$A$38</c15:sqref>
                        </c15:formulaRef>
                      </c:ext>
                    </c:extLst>
                    <c:numCache>
                      <c:formatCode>m/d/yyyy</c:formatCode>
                      <c:ptCount val="36"/>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numCache>
                  </c:numRef>
                </c:cat>
                <c:val>
                  <c:numRef>
                    <c:extLst>
                      <c:ext uri="{02D57815-91ED-43cb-92C2-25804820EDAC}">
                        <c15:formulaRef>
                          <c15:sqref>'[Microsoft Excel-Arbeitsblatt (neu).xlsx]Tabelle1'!$C$3:$C$38</c15:sqref>
                        </c15:formulaRef>
                      </c:ext>
                    </c:extLst>
                    <c:numCache>
                      <c:formatCode>General</c:formatCode>
                      <c:ptCount val="36"/>
                      <c:pt idx="0">
                        <c:v>0.80323118603390997</c:v>
                      </c:pt>
                      <c:pt idx="1">
                        <c:v>0.86608797049213304</c:v>
                      </c:pt>
                      <c:pt idx="2">
                        <c:v>0.80159018822523898</c:v>
                      </c:pt>
                      <c:pt idx="3">
                        <c:v>0.79756821499314901</c:v>
                      </c:pt>
                      <c:pt idx="4">
                        <c:v>0.77406583280105001</c:v>
                      </c:pt>
                      <c:pt idx="5">
                        <c:v>0.91661586738818701</c:v>
                      </c:pt>
                      <c:pt idx="6">
                        <c:v>0.89622075288292502</c:v>
                      </c:pt>
                      <c:pt idx="7">
                        <c:v>1.0032671312781201</c:v>
                      </c:pt>
                      <c:pt idx="8">
                        <c:v>0.83574892378043297</c:v>
                      </c:pt>
                      <c:pt idx="9">
                        <c:v>0.86443058877840395</c:v>
                      </c:pt>
                      <c:pt idx="10">
                        <c:v>0.80676422458024899</c:v>
                      </c:pt>
                      <c:pt idx="11">
                        <c:v>0.65981485084061597</c:v>
                      </c:pt>
                      <c:pt idx="12">
                        <c:v>0.77990772841288902</c:v>
                      </c:pt>
                      <c:pt idx="13">
                        <c:v>0.84092635805301197</c:v>
                      </c:pt>
                      <c:pt idx="14">
                        <c:v>0.85573149931696801</c:v>
                      </c:pt>
                      <c:pt idx="15">
                        <c:v>0.91046883010987201</c:v>
                      </c:pt>
                      <c:pt idx="16">
                        <c:v>1.0105287642338401</c:v>
                      </c:pt>
                      <c:pt idx="17">
                        <c:v>0.97902888790868303</c:v>
                      </c:pt>
                      <c:pt idx="18">
                        <c:v>0.85795861206810897</c:v>
                      </c:pt>
                      <c:pt idx="19">
                        <c:v>0.74969419046042696</c:v>
                      </c:pt>
                      <c:pt idx="20">
                        <c:v>0.88083372968095597</c:v>
                      </c:pt>
                      <c:pt idx="21">
                        <c:v>0.81772629005354502</c:v>
                      </c:pt>
                      <c:pt idx="22">
                        <c:v>0.85074006423975801</c:v>
                      </c:pt>
                      <c:pt idx="23">
                        <c:v>0.70924721033766502</c:v>
                      </c:pt>
                      <c:pt idx="24">
                        <c:v>0.87216280868932305</c:v>
                      </c:pt>
                      <c:pt idx="25">
                        <c:v>0.89243845487740003</c:v>
                      </c:pt>
                      <c:pt idx="26">
                        <c:v>0.881911007351876</c:v>
                      </c:pt>
                      <c:pt idx="27">
                        <c:v>0.83163905530287896</c:v>
                      </c:pt>
                      <c:pt idx="28">
                        <c:v>0.89874789496283103</c:v>
                      </c:pt>
                      <c:pt idx="29">
                        <c:v>0.84791031381308701</c:v>
                      </c:pt>
                      <c:pt idx="30">
                        <c:v>0.83126878529571502</c:v>
                      </c:pt>
                      <c:pt idx="31">
                        <c:v>0.84856088252214301</c:v>
                      </c:pt>
                      <c:pt idx="32">
                        <c:v>0.84053288139717097</c:v>
                      </c:pt>
                      <c:pt idx="33">
                        <c:v>0.82038227535111896</c:v>
                      </c:pt>
                      <c:pt idx="34">
                        <c:v>0.80123915436127902</c:v>
                      </c:pt>
                      <c:pt idx="35">
                        <c:v>0.69375841698153795</c:v>
                      </c:pt>
                    </c:numCache>
                  </c:numRef>
                </c:val>
                <c:smooth val="0"/>
                <c:extLst>
                  <c:ext xmlns:c16="http://schemas.microsoft.com/office/drawing/2014/chart" uri="{C3380CC4-5D6E-409C-BE32-E72D297353CC}">
                    <c16:uniqueId val="{00000001-F3E8-4FBE-B253-3A90A4351C9F}"/>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Microsoft Excel-Arbeitsblatt (neu).xlsx]Tabelle1'!$D$2</c15:sqref>
                        </c15:formulaRef>
                      </c:ext>
                    </c:extLst>
                    <c:strCache>
                      <c:ptCount val="1"/>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Microsoft Excel-Arbeitsblatt (neu).xlsx]Tabelle1'!$A$3:$A$38</c15:sqref>
                        </c15:formulaRef>
                      </c:ext>
                    </c:extLst>
                    <c:numCache>
                      <c:formatCode>m/d/yyyy</c:formatCode>
                      <c:ptCount val="36"/>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numCache>
                  </c:numRef>
                </c:cat>
                <c:val>
                  <c:numRef>
                    <c:extLst xmlns:c15="http://schemas.microsoft.com/office/drawing/2012/chart">
                      <c:ext xmlns:c15="http://schemas.microsoft.com/office/drawing/2012/chart" uri="{02D57815-91ED-43cb-92C2-25804820EDAC}">
                        <c15:formulaRef>
                          <c15:sqref>'[Microsoft Excel-Arbeitsblatt (neu).xlsx]Tabelle1'!$D$3:$D$38</c15:sqref>
                        </c15:formulaRef>
                      </c:ext>
                    </c:extLst>
                    <c:numCache>
                      <c:formatCode>General</c:formatCode>
                      <c:ptCount val="36"/>
                    </c:numCache>
                  </c:numRef>
                </c:val>
                <c:smooth val="0"/>
                <c:extLst xmlns:c15="http://schemas.microsoft.com/office/drawing/2012/chart">
                  <c:ext xmlns:c16="http://schemas.microsoft.com/office/drawing/2014/chart" uri="{C3380CC4-5D6E-409C-BE32-E72D297353CC}">
                    <c16:uniqueId val="{00000002-F3E8-4FBE-B253-3A90A4351C9F}"/>
                  </c:ext>
                </c:extLst>
              </c15:ser>
            </c15:filteredLineSeries>
          </c:ext>
        </c:extLst>
      </c:lineChart>
      <c:dateAx>
        <c:axId val="920827103"/>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920815103"/>
        <c:crosses val="autoZero"/>
        <c:auto val="1"/>
        <c:lblOffset val="100"/>
        <c:baseTimeUnit val="months"/>
      </c:dateAx>
      <c:valAx>
        <c:axId val="920815103"/>
        <c:scaling>
          <c:orientation val="minMax"/>
          <c:min val="0.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dirty="0"/>
                  <a:t>Base-Parity-Rati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9208271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1"/>
          <c:tx>
            <c:strRef>
              <c:f>'[Microsoft Excel-Arbeitsblatt (neu).xlsx]Tabelle1'!$C$2</c:f>
              <c:strCache>
                <c:ptCount val="1"/>
                <c:pt idx="0">
                  <c:v>onshore wind profile value</c:v>
                </c:pt>
              </c:strCache>
            </c:strRef>
          </c:tx>
          <c:spPr>
            <a:ln w="28575" cap="rnd">
              <a:solidFill>
                <a:schemeClr val="accent1"/>
              </a:solidFill>
              <a:round/>
            </a:ln>
            <a:effectLst/>
          </c:spPr>
          <c:marker>
            <c:symbol val="none"/>
          </c:marker>
          <c:cat>
            <c:numRef>
              <c:f>'[Microsoft Excel-Arbeitsblatt (neu).xlsx]Tabelle1'!$A$3:$A$38</c:f>
              <c:numCache>
                <c:formatCode>m/d/yyyy</c:formatCode>
                <c:ptCount val="36"/>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numCache>
            </c:numRef>
          </c:cat>
          <c:val>
            <c:numRef>
              <c:f>'[Microsoft Excel-Arbeitsblatt (neu).xlsx]Tabelle1'!$C$3:$C$38</c:f>
              <c:numCache>
                <c:formatCode>General</c:formatCode>
                <c:ptCount val="36"/>
                <c:pt idx="0">
                  <c:v>0.80323118603390997</c:v>
                </c:pt>
                <c:pt idx="1">
                  <c:v>0.86608797049213304</c:v>
                </c:pt>
                <c:pt idx="2">
                  <c:v>0.80159018822523898</c:v>
                </c:pt>
                <c:pt idx="3">
                  <c:v>0.79756821499314901</c:v>
                </c:pt>
                <c:pt idx="4">
                  <c:v>0.77406583280105001</c:v>
                </c:pt>
                <c:pt idx="5">
                  <c:v>0.91661586738818701</c:v>
                </c:pt>
                <c:pt idx="6">
                  <c:v>0.89622075288292502</c:v>
                </c:pt>
                <c:pt idx="7">
                  <c:v>1.0032671312781201</c:v>
                </c:pt>
                <c:pt idx="8">
                  <c:v>0.83574892378043297</c:v>
                </c:pt>
                <c:pt idx="9">
                  <c:v>0.86443058877840395</c:v>
                </c:pt>
                <c:pt idx="10">
                  <c:v>0.80676422458024899</c:v>
                </c:pt>
                <c:pt idx="11">
                  <c:v>0.65981485084061597</c:v>
                </c:pt>
                <c:pt idx="12">
                  <c:v>0.77990772841288902</c:v>
                </c:pt>
                <c:pt idx="13">
                  <c:v>0.84092635805301197</c:v>
                </c:pt>
                <c:pt idx="14">
                  <c:v>0.85573149931696801</c:v>
                </c:pt>
                <c:pt idx="15">
                  <c:v>0.91046883010987201</c:v>
                </c:pt>
                <c:pt idx="16">
                  <c:v>1.0105287642338401</c:v>
                </c:pt>
                <c:pt idx="17">
                  <c:v>0.97902888790868303</c:v>
                </c:pt>
                <c:pt idx="18">
                  <c:v>0.85795861206810897</c:v>
                </c:pt>
                <c:pt idx="19">
                  <c:v>0.74969419046042696</c:v>
                </c:pt>
                <c:pt idx="20">
                  <c:v>0.88083372968095597</c:v>
                </c:pt>
                <c:pt idx="21">
                  <c:v>0.81772629005354502</c:v>
                </c:pt>
                <c:pt idx="22">
                  <c:v>0.85074006423975801</c:v>
                </c:pt>
                <c:pt idx="23">
                  <c:v>0.70924721033766502</c:v>
                </c:pt>
                <c:pt idx="24">
                  <c:v>0.87216280868932305</c:v>
                </c:pt>
                <c:pt idx="25">
                  <c:v>0.89243845487740003</c:v>
                </c:pt>
                <c:pt idx="26">
                  <c:v>0.881911007351876</c:v>
                </c:pt>
                <c:pt idx="27">
                  <c:v>0.83163905530287896</c:v>
                </c:pt>
                <c:pt idx="28">
                  <c:v>0.89874789496283103</c:v>
                </c:pt>
                <c:pt idx="29">
                  <c:v>0.84791031381308701</c:v>
                </c:pt>
                <c:pt idx="30">
                  <c:v>0.83126878529571502</c:v>
                </c:pt>
                <c:pt idx="31">
                  <c:v>0.84856088252214301</c:v>
                </c:pt>
                <c:pt idx="32">
                  <c:v>0.84053288139717097</c:v>
                </c:pt>
                <c:pt idx="33">
                  <c:v>0.82038227535111896</c:v>
                </c:pt>
                <c:pt idx="34">
                  <c:v>0.80123915436127902</c:v>
                </c:pt>
                <c:pt idx="35">
                  <c:v>0.69375841698153795</c:v>
                </c:pt>
              </c:numCache>
            </c:numRef>
          </c:val>
          <c:smooth val="0"/>
          <c:extLst>
            <c:ext xmlns:c16="http://schemas.microsoft.com/office/drawing/2014/chart" uri="{C3380CC4-5D6E-409C-BE32-E72D297353CC}">
              <c16:uniqueId val="{00000000-58ED-4F30-9CEA-28767080C6CB}"/>
            </c:ext>
          </c:extLst>
        </c:ser>
        <c:dLbls>
          <c:showLegendKey val="0"/>
          <c:showVal val="0"/>
          <c:showCatName val="0"/>
          <c:showSerName val="0"/>
          <c:showPercent val="0"/>
          <c:showBubbleSize val="0"/>
        </c:dLbls>
        <c:smooth val="0"/>
        <c:axId val="920827103"/>
        <c:axId val="920815103"/>
        <c:extLst>
          <c:ext xmlns:c15="http://schemas.microsoft.com/office/drawing/2012/chart" uri="{02D57815-91ED-43cb-92C2-25804820EDAC}">
            <c15:filteredLineSeries>
              <c15:ser>
                <c:idx val="0"/>
                <c:order val="0"/>
                <c:tx>
                  <c:strRef>
                    <c:extLst>
                      <c:ext uri="{02D57815-91ED-43cb-92C2-25804820EDAC}">
                        <c15:formulaRef>
                          <c15:sqref>'[Microsoft Excel-Arbeitsblatt (neu).xlsx]Tabelle1'!$B$2</c15:sqref>
                        </c15:formulaRef>
                      </c:ext>
                    </c:extLst>
                    <c:strCache>
                      <c:ptCount val="1"/>
                      <c:pt idx="0">
                        <c:v>solar profile value</c:v>
                      </c:pt>
                    </c:strCache>
                  </c:strRef>
                </c:tx>
                <c:spPr>
                  <a:ln w="28575" cap="rnd">
                    <a:solidFill>
                      <a:schemeClr val="accent1"/>
                    </a:solidFill>
                    <a:round/>
                  </a:ln>
                  <a:effectLst/>
                </c:spPr>
                <c:marker>
                  <c:symbol val="none"/>
                </c:marker>
                <c:cat>
                  <c:numRef>
                    <c:extLst>
                      <c:ext uri="{02D57815-91ED-43cb-92C2-25804820EDAC}">
                        <c15:formulaRef>
                          <c15:sqref>'[Microsoft Excel-Arbeitsblatt (neu).xlsx]Tabelle1'!$A$3:$A$38</c15:sqref>
                        </c15:formulaRef>
                      </c:ext>
                    </c:extLst>
                    <c:numCache>
                      <c:formatCode>m/d/yyyy</c:formatCode>
                      <c:ptCount val="36"/>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numCache>
                  </c:numRef>
                </c:cat>
                <c:val>
                  <c:numRef>
                    <c:extLst>
                      <c:ext uri="{02D57815-91ED-43cb-92C2-25804820EDAC}">
                        <c15:formulaRef>
                          <c15:sqref>'[Microsoft Excel-Arbeitsblatt (neu).xlsx]Tabelle1'!$B$3:$B$38</c15:sqref>
                        </c15:formulaRef>
                      </c:ext>
                    </c:extLst>
                    <c:numCache>
                      <c:formatCode>General</c:formatCode>
                      <c:ptCount val="36"/>
                      <c:pt idx="0" formatCode="0%">
                        <c:v>1.05752011869037</c:v>
                      </c:pt>
                      <c:pt idx="1">
                        <c:v>0.91803732370548496</c:v>
                      </c:pt>
                      <c:pt idx="2">
                        <c:v>0.82319141687728803</c:v>
                      </c:pt>
                      <c:pt idx="3">
                        <c:v>0.877144726581084</c:v>
                      </c:pt>
                      <c:pt idx="4">
                        <c:v>0.846679878923986</c:v>
                      </c:pt>
                      <c:pt idx="5">
                        <c:v>0.86464657605791595</c:v>
                      </c:pt>
                      <c:pt idx="6">
                        <c:v>0.82597013801515595</c:v>
                      </c:pt>
                      <c:pt idx="7">
                        <c:v>0.86019047616697097</c:v>
                      </c:pt>
                      <c:pt idx="8">
                        <c:v>0.92403906913021205</c:v>
                      </c:pt>
                      <c:pt idx="9">
                        <c:v>0.84072522108085301</c:v>
                      </c:pt>
                      <c:pt idx="10">
                        <c:v>0.87629799067223102</c:v>
                      </c:pt>
                      <c:pt idx="11">
                        <c:v>1.12164411618025</c:v>
                      </c:pt>
                      <c:pt idx="12">
                        <c:v>1.07323249163194</c:v>
                      </c:pt>
                      <c:pt idx="13">
                        <c:v>0.96960737571495004</c:v>
                      </c:pt>
                      <c:pt idx="14">
                        <c:v>0.86733017970837101</c:v>
                      </c:pt>
                      <c:pt idx="15">
                        <c:v>0.78745711759271197</c:v>
                      </c:pt>
                      <c:pt idx="16">
                        <c:v>0.70717579334682301</c:v>
                      </c:pt>
                      <c:pt idx="17">
                        <c:v>0.76406224007048895</c:v>
                      </c:pt>
                      <c:pt idx="18">
                        <c:v>0.76947641296219005</c:v>
                      </c:pt>
                      <c:pt idx="19">
                        <c:v>0.80763872609760801</c:v>
                      </c:pt>
                      <c:pt idx="20">
                        <c:v>0.74295087431819995</c:v>
                      </c:pt>
                      <c:pt idx="21">
                        <c:v>0.77690681748201096</c:v>
                      </c:pt>
                      <c:pt idx="22">
                        <c:v>0.96005427566688595</c:v>
                      </c:pt>
                      <c:pt idx="23">
                        <c:v>1.0048024901080901</c:v>
                      </c:pt>
                      <c:pt idx="24">
                        <c:v>1.01366771785365</c:v>
                      </c:pt>
                      <c:pt idx="25">
                        <c:v>0.96390646601289398</c:v>
                      </c:pt>
                      <c:pt idx="26">
                        <c:v>0.75858608121084803</c:v>
                      </c:pt>
                      <c:pt idx="27">
                        <c:v>0.67685202230008201</c:v>
                      </c:pt>
                      <c:pt idx="28">
                        <c:v>0.58103591430055901</c:v>
                      </c:pt>
                      <c:pt idx="29">
                        <c:v>0.58747291854253902</c:v>
                      </c:pt>
                      <c:pt idx="30">
                        <c:v>0.57590332904485098</c:v>
                      </c:pt>
                      <c:pt idx="31">
                        <c:v>0.56041504195279601</c:v>
                      </c:pt>
                      <c:pt idx="32">
                        <c:v>0.59452803112568897</c:v>
                      </c:pt>
                      <c:pt idx="33">
                        <c:v>0.77464589837834097</c:v>
                      </c:pt>
                      <c:pt idx="34">
                        <c:v>0.894843220414544</c:v>
                      </c:pt>
                      <c:pt idx="35">
                        <c:v>1.1383643788733799</c:v>
                      </c:pt>
                    </c:numCache>
                  </c:numRef>
                </c:val>
                <c:smooth val="0"/>
                <c:extLst>
                  <c:ext xmlns:c16="http://schemas.microsoft.com/office/drawing/2014/chart" uri="{C3380CC4-5D6E-409C-BE32-E72D297353CC}">
                    <c16:uniqueId val="{00000001-58ED-4F30-9CEA-28767080C6CB}"/>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Microsoft Excel-Arbeitsblatt (neu).xlsx]Tabelle1'!$D$2</c15:sqref>
                        </c15:formulaRef>
                      </c:ext>
                    </c:extLst>
                    <c:strCache>
                      <c:ptCount val="1"/>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Microsoft Excel-Arbeitsblatt (neu).xlsx]Tabelle1'!$A$3:$A$38</c15:sqref>
                        </c15:formulaRef>
                      </c:ext>
                    </c:extLst>
                    <c:numCache>
                      <c:formatCode>m/d/yyyy</c:formatCode>
                      <c:ptCount val="36"/>
                      <c:pt idx="0">
                        <c:v>44562</c:v>
                      </c:pt>
                      <c:pt idx="1">
                        <c:v>44593</c:v>
                      </c:pt>
                      <c:pt idx="2">
                        <c:v>44621</c:v>
                      </c:pt>
                      <c:pt idx="3">
                        <c:v>44652</c:v>
                      </c:pt>
                      <c:pt idx="4">
                        <c:v>44682</c:v>
                      </c:pt>
                      <c:pt idx="5">
                        <c:v>44713</c:v>
                      </c:pt>
                      <c:pt idx="6">
                        <c:v>44743</c:v>
                      </c:pt>
                      <c:pt idx="7">
                        <c:v>44774</c:v>
                      </c:pt>
                      <c:pt idx="8">
                        <c:v>44805</c:v>
                      </c:pt>
                      <c:pt idx="9">
                        <c:v>44835</c:v>
                      </c:pt>
                      <c:pt idx="10">
                        <c:v>44866</c:v>
                      </c:pt>
                      <c:pt idx="11">
                        <c:v>44896</c:v>
                      </c:pt>
                      <c:pt idx="12">
                        <c:v>44927</c:v>
                      </c:pt>
                      <c:pt idx="13">
                        <c:v>44958</c:v>
                      </c:pt>
                      <c:pt idx="14">
                        <c:v>44986</c:v>
                      </c:pt>
                      <c:pt idx="15">
                        <c:v>45017</c:v>
                      </c:pt>
                      <c:pt idx="16">
                        <c:v>45047</c:v>
                      </c:pt>
                      <c:pt idx="17">
                        <c:v>45078</c:v>
                      </c:pt>
                      <c:pt idx="18">
                        <c:v>45108</c:v>
                      </c:pt>
                      <c:pt idx="19">
                        <c:v>45139</c:v>
                      </c:pt>
                      <c:pt idx="20">
                        <c:v>45170</c:v>
                      </c:pt>
                      <c:pt idx="21">
                        <c:v>45200</c:v>
                      </c:pt>
                      <c:pt idx="22">
                        <c:v>45231</c:v>
                      </c:pt>
                      <c:pt idx="23">
                        <c:v>45261</c:v>
                      </c:pt>
                      <c:pt idx="24">
                        <c:v>45292</c:v>
                      </c:pt>
                      <c:pt idx="25">
                        <c:v>45323</c:v>
                      </c:pt>
                      <c:pt idx="26">
                        <c:v>45352</c:v>
                      </c:pt>
                      <c:pt idx="27">
                        <c:v>45383</c:v>
                      </c:pt>
                      <c:pt idx="28">
                        <c:v>45413</c:v>
                      </c:pt>
                      <c:pt idx="29">
                        <c:v>45444</c:v>
                      </c:pt>
                      <c:pt idx="30">
                        <c:v>45474</c:v>
                      </c:pt>
                      <c:pt idx="31">
                        <c:v>45505</c:v>
                      </c:pt>
                      <c:pt idx="32">
                        <c:v>45536</c:v>
                      </c:pt>
                      <c:pt idx="33">
                        <c:v>45566</c:v>
                      </c:pt>
                      <c:pt idx="34">
                        <c:v>45597</c:v>
                      </c:pt>
                      <c:pt idx="35">
                        <c:v>45627</c:v>
                      </c:pt>
                    </c:numCache>
                  </c:numRef>
                </c:cat>
                <c:val>
                  <c:numRef>
                    <c:extLst xmlns:c15="http://schemas.microsoft.com/office/drawing/2012/chart">
                      <c:ext xmlns:c15="http://schemas.microsoft.com/office/drawing/2012/chart" uri="{02D57815-91ED-43cb-92C2-25804820EDAC}">
                        <c15:formulaRef>
                          <c15:sqref>'[Microsoft Excel-Arbeitsblatt (neu).xlsx]Tabelle1'!$D$3:$D$38</c15:sqref>
                        </c15:formulaRef>
                      </c:ext>
                    </c:extLst>
                    <c:numCache>
                      <c:formatCode>General</c:formatCode>
                      <c:ptCount val="36"/>
                    </c:numCache>
                  </c:numRef>
                </c:val>
                <c:smooth val="0"/>
                <c:extLst xmlns:c15="http://schemas.microsoft.com/office/drawing/2012/chart">
                  <c:ext xmlns:c16="http://schemas.microsoft.com/office/drawing/2014/chart" uri="{C3380CC4-5D6E-409C-BE32-E72D297353CC}">
                    <c16:uniqueId val="{00000002-58ED-4F30-9CEA-28767080C6CB}"/>
                  </c:ext>
                </c:extLst>
              </c15:ser>
            </c15:filteredLineSeries>
          </c:ext>
        </c:extLst>
      </c:lineChart>
      <c:dateAx>
        <c:axId val="920827103"/>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920815103"/>
        <c:crosses val="autoZero"/>
        <c:auto val="1"/>
        <c:lblOffset val="100"/>
        <c:baseTimeUnit val="months"/>
      </c:dateAx>
      <c:valAx>
        <c:axId val="920815103"/>
        <c:scaling>
          <c:orientation val="minMax"/>
          <c:min val="0.60000000000000009"/>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de-DE" dirty="0"/>
                  <a:t>Base-Parity-Ratio</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9208271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2025</c:v>
                </c:pt>
              </c:strCache>
            </c:strRef>
          </c:tx>
          <c:spPr>
            <a:solidFill>
              <a:schemeClr val="accent1"/>
            </a:solidFill>
            <a:ln>
              <a:noFill/>
            </a:ln>
            <a:effectLst/>
          </c:spPr>
          <c:invertIfNegative val="0"/>
          <c:cat>
            <c:strRef>
              <c:f>Tabelle1!$A$2:$A$4</c:f>
              <c:strCache>
                <c:ptCount val="3"/>
                <c:pt idx="0">
                  <c:v>Electrolyzers</c:v>
                </c:pt>
                <c:pt idx="1">
                  <c:v>Heatpumps</c:v>
                </c:pt>
                <c:pt idx="2">
                  <c:v>Electric mobility</c:v>
                </c:pt>
              </c:strCache>
            </c:strRef>
          </c:cat>
          <c:val>
            <c:numRef>
              <c:f>Tabelle1!$B$2:$B$4</c:f>
              <c:numCache>
                <c:formatCode>General</c:formatCode>
                <c:ptCount val="3"/>
                <c:pt idx="0">
                  <c:v>3.98</c:v>
                </c:pt>
                <c:pt idx="1">
                  <c:v>12.18</c:v>
                </c:pt>
                <c:pt idx="2">
                  <c:v>6.35</c:v>
                </c:pt>
              </c:numCache>
            </c:numRef>
          </c:val>
          <c:extLst>
            <c:ext xmlns:c16="http://schemas.microsoft.com/office/drawing/2014/chart" uri="{C3380CC4-5D6E-409C-BE32-E72D297353CC}">
              <c16:uniqueId val="{00000000-B184-4F86-B6CF-DD24F0A6DBB1}"/>
            </c:ext>
          </c:extLst>
        </c:ser>
        <c:ser>
          <c:idx val="1"/>
          <c:order val="1"/>
          <c:tx>
            <c:strRef>
              <c:f>Tabelle1!$C$1</c:f>
              <c:strCache>
                <c:ptCount val="1"/>
                <c:pt idx="0">
                  <c:v>2030</c:v>
                </c:pt>
              </c:strCache>
            </c:strRef>
          </c:tx>
          <c:spPr>
            <a:solidFill>
              <a:schemeClr val="accent2"/>
            </a:solidFill>
            <a:ln>
              <a:noFill/>
            </a:ln>
            <a:effectLst/>
          </c:spPr>
          <c:invertIfNegative val="0"/>
          <c:cat>
            <c:strRef>
              <c:f>Tabelle1!$A$2:$A$4</c:f>
              <c:strCache>
                <c:ptCount val="3"/>
                <c:pt idx="0">
                  <c:v>Electrolyzers</c:v>
                </c:pt>
                <c:pt idx="1">
                  <c:v>Heatpumps</c:v>
                </c:pt>
                <c:pt idx="2">
                  <c:v>Electric mobility</c:v>
                </c:pt>
              </c:strCache>
            </c:strRef>
          </c:cat>
          <c:val>
            <c:numRef>
              <c:f>Tabelle1!$C$2:$C$4</c:f>
              <c:numCache>
                <c:formatCode>General</c:formatCode>
                <c:ptCount val="3"/>
                <c:pt idx="0">
                  <c:v>43.84</c:v>
                </c:pt>
                <c:pt idx="1">
                  <c:v>27.83</c:v>
                </c:pt>
                <c:pt idx="2">
                  <c:v>25.08</c:v>
                </c:pt>
              </c:numCache>
            </c:numRef>
          </c:val>
          <c:extLst>
            <c:ext xmlns:c16="http://schemas.microsoft.com/office/drawing/2014/chart" uri="{C3380CC4-5D6E-409C-BE32-E72D297353CC}">
              <c16:uniqueId val="{00000001-B184-4F86-B6CF-DD24F0A6DBB1}"/>
            </c:ext>
          </c:extLst>
        </c:ser>
        <c:dLbls>
          <c:showLegendKey val="0"/>
          <c:showVal val="0"/>
          <c:showCatName val="0"/>
          <c:showSerName val="0"/>
          <c:showPercent val="0"/>
          <c:showBubbleSize val="0"/>
        </c:dLbls>
        <c:gapWidth val="219"/>
        <c:overlap val="-27"/>
        <c:axId val="283565455"/>
        <c:axId val="283564975"/>
      </c:barChart>
      <c:catAx>
        <c:axId val="2835654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83564975"/>
        <c:crosses val="autoZero"/>
        <c:auto val="1"/>
        <c:lblAlgn val="ctr"/>
        <c:lblOffset val="100"/>
        <c:noMultiLvlLbl val="0"/>
      </c:catAx>
      <c:valAx>
        <c:axId val="28356497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de-DE" dirty="0"/>
                  <a:t>Generation</a:t>
                </a:r>
                <a:r>
                  <a:rPr lang="de-DE" baseline="0" dirty="0"/>
                  <a:t> in TWh</a:t>
                </a:r>
                <a:endParaRPr lang="de-DE"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2835654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belle1!$B$1</c:f>
              <c:strCache>
                <c:ptCount val="1"/>
                <c:pt idx="0">
                  <c:v>2025</c:v>
                </c:pt>
              </c:strCache>
            </c:strRef>
          </c:tx>
          <c:spPr>
            <a:solidFill>
              <a:schemeClr val="accent1"/>
            </a:solidFill>
            <a:ln>
              <a:noFill/>
            </a:ln>
            <a:effectLst/>
          </c:spPr>
          <c:invertIfNegative val="0"/>
          <c:cat>
            <c:strRef>
              <c:f>Tabelle1!$A$2</c:f>
              <c:strCache>
                <c:ptCount val="1"/>
                <c:pt idx="0">
                  <c:v>Battery storage</c:v>
                </c:pt>
              </c:strCache>
            </c:strRef>
          </c:cat>
          <c:val>
            <c:numRef>
              <c:f>Tabelle1!$B$2</c:f>
              <c:numCache>
                <c:formatCode>General</c:formatCode>
                <c:ptCount val="1"/>
                <c:pt idx="0">
                  <c:v>0.5</c:v>
                </c:pt>
              </c:numCache>
            </c:numRef>
          </c:val>
          <c:extLst>
            <c:ext xmlns:c16="http://schemas.microsoft.com/office/drawing/2014/chart" uri="{C3380CC4-5D6E-409C-BE32-E72D297353CC}">
              <c16:uniqueId val="{00000000-B898-45B6-B261-39E2E99011A7}"/>
            </c:ext>
          </c:extLst>
        </c:ser>
        <c:ser>
          <c:idx val="1"/>
          <c:order val="1"/>
          <c:tx>
            <c:strRef>
              <c:f>Tabelle1!$C$1</c:f>
              <c:strCache>
                <c:ptCount val="1"/>
                <c:pt idx="0">
                  <c:v>2030</c:v>
                </c:pt>
              </c:strCache>
            </c:strRef>
          </c:tx>
          <c:spPr>
            <a:solidFill>
              <a:schemeClr val="accent2"/>
            </a:solidFill>
            <a:ln>
              <a:noFill/>
            </a:ln>
            <a:effectLst/>
          </c:spPr>
          <c:invertIfNegative val="0"/>
          <c:cat>
            <c:strRef>
              <c:f>Tabelle1!$A$2</c:f>
              <c:strCache>
                <c:ptCount val="1"/>
                <c:pt idx="0">
                  <c:v>Battery storage</c:v>
                </c:pt>
              </c:strCache>
            </c:strRef>
          </c:cat>
          <c:val>
            <c:numRef>
              <c:f>Tabelle1!$C$2</c:f>
              <c:numCache>
                <c:formatCode>General</c:formatCode>
                <c:ptCount val="1"/>
                <c:pt idx="0">
                  <c:v>1</c:v>
                </c:pt>
              </c:numCache>
            </c:numRef>
          </c:val>
          <c:extLst>
            <c:ext xmlns:c16="http://schemas.microsoft.com/office/drawing/2014/chart" uri="{C3380CC4-5D6E-409C-BE32-E72D297353CC}">
              <c16:uniqueId val="{00000001-B898-45B6-B261-39E2E99011A7}"/>
            </c:ext>
          </c:extLst>
        </c:ser>
        <c:dLbls>
          <c:showLegendKey val="0"/>
          <c:showVal val="0"/>
          <c:showCatName val="0"/>
          <c:showSerName val="0"/>
          <c:showPercent val="0"/>
          <c:showBubbleSize val="0"/>
        </c:dLbls>
        <c:gapWidth val="219"/>
        <c:overlap val="-27"/>
        <c:axId val="521449471"/>
        <c:axId val="521448511"/>
      </c:barChart>
      <c:catAx>
        <c:axId val="52144947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521448511"/>
        <c:crosses val="autoZero"/>
        <c:auto val="1"/>
        <c:lblAlgn val="ctr"/>
        <c:lblOffset val="100"/>
        <c:noMultiLvlLbl val="0"/>
      </c:catAx>
      <c:valAx>
        <c:axId val="5214485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de-DE" dirty="0" err="1"/>
                  <a:t>Capacity</a:t>
                </a:r>
                <a:r>
                  <a:rPr lang="de-DE" baseline="0" dirty="0"/>
                  <a:t> in GW</a:t>
                </a:r>
                <a:endParaRPr lang="de-DE"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crossAx val="52144947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lex-scenarios_base'!$B$3</c:f>
              <c:strCache>
                <c:ptCount val="1"/>
                <c:pt idx="0">
                  <c:v>Cental</c:v>
                </c:pt>
              </c:strCache>
            </c:strRef>
          </c:tx>
          <c:spPr>
            <a:ln w="28575" cap="rnd">
              <a:solidFill>
                <a:schemeClr val="accent4"/>
              </a:solidFill>
              <a:round/>
            </a:ln>
            <a:effectLst/>
          </c:spPr>
          <c:marker>
            <c:symbol val="none"/>
          </c:marker>
          <c:cat>
            <c:numRef>
              <c:f>'flex-scenarios_base'!$A$9:$A$34</c:f>
              <c:numCache>
                <c:formatCode>m/d/yyyy</c:formatCode>
                <c:ptCount val="26"/>
                <c:pt idx="0">
                  <c:v>45658</c:v>
                </c:pt>
                <c:pt idx="1">
                  <c:v>46023</c:v>
                </c:pt>
                <c:pt idx="2">
                  <c:v>46388</c:v>
                </c:pt>
                <c:pt idx="3">
                  <c:v>46753</c:v>
                </c:pt>
                <c:pt idx="4">
                  <c:v>47119</c:v>
                </c:pt>
                <c:pt idx="5">
                  <c:v>47484</c:v>
                </c:pt>
                <c:pt idx="6">
                  <c:v>47849</c:v>
                </c:pt>
                <c:pt idx="7">
                  <c:v>48214</c:v>
                </c:pt>
                <c:pt idx="8">
                  <c:v>48580</c:v>
                </c:pt>
                <c:pt idx="9">
                  <c:v>48945</c:v>
                </c:pt>
                <c:pt idx="10">
                  <c:v>49310</c:v>
                </c:pt>
                <c:pt idx="11">
                  <c:v>49675</c:v>
                </c:pt>
                <c:pt idx="12">
                  <c:v>50041</c:v>
                </c:pt>
                <c:pt idx="13">
                  <c:v>50406</c:v>
                </c:pt>
                <c:pt idx="14">
                  <c:v>50771</c:v>
                </c:pt>
                <c:pt idx="15">
                  <c:v>51136</c:v>
                </c:pt>
                <c:pt idx="16">
                  <c:v>51502</c:v>
                </c:pt>
                <c:pt idx="17">
                  <c:v>51867</c:v>
                </c:pt>
                <c:pt idx="18">
                  <c:v>52232</c:v>
                </c:pt>
                <c:pt idx="19">
                  <c:v>52597</c:v>
                </c:pt>
                <c:pt idx="20">
                  <c:v>52963</c:v>
                </c:pt>
                <c:pt idx="21">
                  <c:v>53328</c:v>
                </c:pt>
                <c:pt idx="22">
                  <c:v>53693</c:v>
                </c:pt>
                <c:pt idx="23">
                  <c:v>54058</c:v>
                </c:pt>
                <c:pt idx="24">
                  <c:v>54424</c:v>
                </c:pt>
                <c:pt idx="25">
                  <c:v>54789</c:v>
                </c:pt>
              </c:numCache>
            </c:numRef>
          </c:cat>
          <c:val>
            <c:numRef>
              <c:f>'flex-scenarios_base'!$B$9:$B$34</c:f>
              <c:numCache>
                <c:formatCode>General</c:formatCode>
                <c:ptCount val="26"/>
                <c:pt idx="0">
                  <c:v>76.219686707677297</c:v>
                </c:pt>
                <c:pt idx="1">
                  <c:v>69.371221920344297</c:v>
                </c:pt>
                <c:pt idx="2">
                  <c:v>62.740619721695701</c:v>
                </c:pt>
                <c:pt idx="3">
                  <c:v>70.305970313607602</c:v>
                </c:pt>
                <c:pt idx="4">
                  <c:v>77.234622549629606</c:v>
                </c:pt>
                <c:pt idx="5">
                  <c:v>78.361062675850505</c:v>
                </c:pt>
                <c:pt idx="6">
                  <c:v>76.215942538328903</c:v>
                </c:pt>
                <c:pt idx="7">
                  <c:v>69.597922836387895</c:v>
                </c:pt>
                <c:pt idx="8">
                  <c:v>69.316597199603294</c:v>
                </c:pt>
                <c:pt idx="9">
                  <c:v>64.055452184807706</c:v>
                </c:pt>
                <c:pt idx="10">
                  <c:v>60.698301461216502</c:v>
                </c:pt>
                <c:pt idx="11">
                  <c:v>57.813035215347803</c:v>
                </c:pt>
                <c:pt idx="12">
                  <c:v>57.003594538038698</c:v>
                </c:pt>
                <c:pt idx="13">
                  <c:v>56.078333909625798</c:v>
                </c:pt>
                <c:pt idx="14">
                  <c:v>56.692307056112298</c:v>
                </c:pt>
                <c:pt idx="15">
                  <c:v>53.496652707837498</c:v>
                </c:pt>
                <c:pt idx="16">
                  <c:v>52.7733746752074</c:v>
                </c:pt>
                <c:pt idx="17">
                  <c:v>54.367872264790698</c:v>
                </c:pt>
                <c:pt idx="18">
                  <c:v>55.216054227934499</c:v>
                </c:pt>
                <c:pt idx="19">
                  <c:v>55.860593709246402</c:v>
                </c:pt>
                <c:pt idx="20">
                  <c:v>56.8157764565454</c:v>
                </c:pt>
                <c:pt idx="21">
                  <c:v>56.4365208743369</c:v>
                </c:pt>
                <c:pt idx="22">
                  <c:v>56.036575948157797</c:v>
                </c:pt>
                <c:pt idx="23">
                  <c:v>57.131106890385098</c:v>
                </c:pt>
                <c:pt idx="24">
                  <c:v>62.288477795975901</c:v>
                </c:pt>
                <c:pt idx="25">
                  <c:v>62.541327389231</c:v>
                </c:pt>
              </c:numCache>
            </c:numRef>
          </c:val>
          <c:smooth val="0"/>
          <c:extLst>
            <c:ext xmlns:c16="http://schemas.microsoft.com/office/drawing/2014/chart" uri="{C3380CC4-5D6E-409C-BE32-E72D297353CC}">
              <c16:uniqueId val="{00000000-D2B1-489B-AE4A-ABB6F46A4EF9}"/>
            </c:ext>
          </c:extLst>
        </c:ser>
        <c:ser>
          <c:idx val="1"/>
          <c:order val="1"/>
          <c:tx>
            <c:strRef>
              <c:f>'flex-scenarios_base'!$C$3</c:f>
              <c:strCache>
                <c:ptCount val="1"/>
                <c:pt idx="0">
                  <c:v>High Flex (+50%)</c:v>
                </c:pt>
              </c:strCache>
            </c:strRef>
          </c:tx>
          <c:spPr>
            <a:ln w="28575" cap="rnd">
              <a:solidFill>
                <a:schemeClr val="tx2"/>
              </a:solidFill>
              <a:round/>
            </a:ln>
            <a:effectLst/>
          </c:spPr>
          <c:marker>
            <c:symbol val="none"/>
          </c:marker>
          <c:cat>
            <c:numRef>
              <c:f>'flex-scenarios_base'!$A$9:$A$34</c:f>
              <c:numCache>
                <c:formatCode>m/d/yyyy</c:formatCode>
                <c:ptCount val="26"/>
                <c:pt idx="0">
                  <c:v>45658</c:v>
                </c:pt>
                <c:pt idx="1">
                  <c:v>46023</c:v>
                </c:pt>
                <c:pt idx="2">
                  <c:v>46388</c:v>
                </c:pt>
                <c:pt idx="3">
                  <c:v>46753</c:v>
                </c:pt>
                <c:pt idx="4">
                  <c:v>47119</c:v>
                </c:pt>
                <c:pt idx="5">
                  <c:v>47484</c:v>
                </c:pt>
                <c:pt idx="6">
                  <c:v>47849</c:v>
                </c:pt>
                <c:pt idx="7">
                  <c:v>48214</c:v>
                </c:pt>
                <c:pt idx="8">
                  <c:v>48580</c:v>
                </c:pt>
                <c:pt idx="9">
                  <c:v>48945</c:v>
                </c:pt>
                <c:pt idx="10">
                  <c:v>49310</c:v>
                </c:pt>
                <c:pt idx="11">
                  <c:v>49675</c:v>
                </c:pt>
                <c:pt idx="12">
                  <c:v>50041</c:v>
                </c:pt>
                <c:pt idx="13">
                  <c:v>50406</c:v>
                </c:pt>
                <c:pt idx="14">
                  <c:v>50771</c:v>
                </c:pt>
                <c:pt idx="15">
                  <c:v>51136</c:v>
                </c:pt>
                <c:pt idx="16">
                  <c:v>51502</c:v>
                </c:pt>
                <c:pt idx="17">
                  <c:v>51867</c:v>
                </c:pt>
                <c:pt idx="18">
                  <c:v>52232</c:v>
                </c:pt>
                <c:pt idx="19">
                  <c:v>52597</c:v>
                </c:pt>
                <c:pt idx="20">
                  <c:v>52963</c:v>
                </c:pt>
                <c:pt idx="21">
                  <c:v>53328</c:v>
                </c:pt>
                <c:pt idx="22">
                  <c:v>53693</c:v>
                </c:pt>
                <c:pt idx="23">
                  <c:v>54058</c:v>
                </c:pt>
                <c:pt idx="24">
                  <c:v>54424</c:v>
                </c:pt>
                <c:pt idx="25">
                  <c:v>54789</c:v>
                </c:pt>
              </c:numCache>
            </c:numRef>
          </c:cat>
          <c:val>
            <c:numRef>
              <c:f>'flex-scenarios_base'!$C$9:$C$34</c:f>
              <c:numCache>
                <c:formatCode>General</c:formatCode>
                <c:ptCount val="26"/>
                <c:pt idx="0">
                  <c:v>77.250610688451204</c:v>
                </c:pt>
                <c:pt idx="1">
                  <c:v>69.840595836291001</c:v>
                </c:pt>
                <c:pt idx="2">
                  <c:v>61.9569766136064</c:v>
                </c:pt>
                <c:pt idx="3">
                  <c:v>64.053582857921</c:v>
                </c:pt>
                <c:pt idx="4">
                  <c:v>73.230413188945207</c:v>
                </c:pt>
                <c:pt idx="5">
                  <c:v>73.193872016695494</c:v>
                </c:pt>
                <c:pt idx="6">
                  <c:v>68.844236987148705</c:v>
                </c:pt>
                <c:pt idx="7">
                  <c:v>64.434991950681507</c:v>
                </c:pt>
                <c:pt idx="8">
                  <c:v>60.853777298290403</c:v>
                </c:pt>
                <c:pt idx="9">
                  <c:v>57.257947099235999</c:v>
                </c:pt>
                <c:pt idx="10">
                  <c:v>56.099217027126301</c:v>
                </c:pt>
                <c:pt idx="11">
                  <c:v>52.812200167655703</c:v>
                </c:pt>
                <c:pt idx="12">
                  <c:v>52.3422792204166</c:v>
                </c:pt>
                <c:pt idx="13">
                  <c:v>51.859228265353501</c:v>
                </c:pt>
                <c:pt idx="14">
                  <c:v>52.604843085419098</c:v>
                </c:pt>
                <c:pt idx="15">
                  <c:v>49.596611849271497</c:v>
                </c:pt>
                <c:pt idx="16">
                  <c:v>48.602145901853</c:v>
                </c:pt>
                <c:pt idx="17">
                  <c:v>50.204490368619297</c:v>
                </c:pt>
                <c:pt idx="18">
                  <c:v>51.932584820544797</c:v>
                </c:pt>
                <c:pt idx="19">
                  <c:v>51.579381061205503</c:v>
                </c:pt>
                <c:pt idx="20">
                  <c:v>52.896788291354099</c:v>
                </c:pt>
                <c:pt idx="21">
                  <c:v>52.195080561044499</c:v>
                </c:pt>
                <c:pt idx="22">
                  <c:v>53.033239274223597</c:v>
                </c:pt>
                <c:pt idx="23">
                  <c:v>53.743528055932998</c:v>
                </c:pt>
                <c:pt idx="24">
                  <c:v>58.893232716721997</c:v>
                </c:pt>
                <c:pt idx="25">
                  <c:v>60.043137039455097</c:v>
                </c:pt>
              </c:numCache>
            </c:numRef>
          </c:val>
          <c:smooth val="0"/>
          <c:extLst>
            <c:ext xmlns:c16="http://schemas.microsoft.com/office/drawing/2014/chart" uri="{C3380CC4-5D6E-409C-BE32-E72D297353CC}">
              <c16:uniqueId val="{00000001-D2B1-489B-AE4A-ABB6F46A4EF9}"/>
            </c:ext>
          </c:extLst>
        </c:ser>
        <c:ser>
          <c:idx val="2"/>
          <c:order val="2"/>
          <c:tx>
            <c:strRef>
              <c:f>'flex-scenarios_base'!$D$3</c:f>
              <c:strCache>
                <c:ptCount val="1"/>
                <c:pt idx="0">
                  <c:v>Low Flex (-50%)</c:v>
                </c:pt>
              </c:strCache>
            </c:strRef>
          </c:tx>
          <c:spPr>
            <a:ln w="28575" cap="rnd">
              <a:solidFill>
                <a:schemeClr val="accent3"/>
              </a:solidFill>
              <a:round/>
            </a:ln>
            <a:effectLst/>
          </c:spPr>
          <c:marker>
            <c:symbol val="none"/>
          </c:marker>
          <c:cat>
            <c:numRef>
              <c:f>'flex-scenarios_base'!$A$9:$A$34</c:f>
              <c:numCache>
                <c:formatCode>m/d/yyyy</c:formatCode>
                <c:ptCount val="26"/>
                <c:pt idx="0">
                  <c:v>45658</c:v>
                </c:pt>
                <c:pt idx="1">
                  <c:v>46023</c:v>
                </c:pt>
                <c:pt idx="2">
                  <c:v>46388</c:v>
                </c:pt>
                <c:pt idx="3">
                  <c:v>46753</c:v>
                </c:pt>
                <c:pt idx="4">
                  <c:v>47119</c:v>
                </c:pt>
                <c:pt idx="5">
                  <c:v>47484</c:v>
                </c:pt>
                <c:pt idx="6">
                  <c:v>47849</c:v>
                </c:pt>
                <c:pt idx="7">
                  <c:v>48214</c:v>
                </c:pt>
                <c:pt idx="8">
                  <c:v>48580</c:v>
                </c:pt>
                <c:pt idx="9">
                  <c:v>48945</c:v>
                </c:pt>
                <c:pt idx="10">
                  <c:v>49310</c:v>
                </c:pt>
                <c:pt idx="11">
                  <c:v>49675</c:v>
                </c:pt>
                <c:pt idx="12">
                  <c:v>50041</c:v>
                </c:pt>
                <c:pt idx="13">
                  <c:v>50406</c:v>
                </c:pt>
                <c:pt idx="14">
                  <c:v>50771</c:v>
                </c:pt>
                <c:pt idx="15">
                  <c:v>51136</c:v>
                </c:pt>
                <c:pt idx="16">
                  <c:v>51502</c:v>
                </c:pt>
                <c:pt idx="17">
                  <c:v>51867</c:v>
                </c:pt>
                <c:pt idx="18">
                  <c:v>52232</c:v>
                </c:pt>
                <c:pt idx="19">
                  <c:v>52597</c:v>
                </c:pt>
                <c:pt idx="20">
                  <c:v>52963</c:v>
                </c:pt>
                <c:pt idx="21">
                  <c:v>53328</c:v>
                </c:pt>
                <c:pt idx="22">
                  <c:v>53693</c:v>
                </c:pt>
                <c:pt idx="23">
                  <c:v>54058</c:v>
                </c:pt>
                <c:pt idx="24">
                  <c:v>54424</c:v>
                </c:pt>
                <c:pt idx="25">
                  <c:v>54789</c:v>
                </c:pt>
              </c:numCache>
            </c:numRef>
          </c:cat>
          <c:val>
            <c:numRef>
              <c:f>'flex-scenarios_base'!$D$9:$D$34</c:f>
              <c:numCache>
                <c:formatCode>General</c:formatCode>
                <c:ptCount val="26"/>
                <c:pt idx="0">
                  <c:v>77.776405736627098</c:v>
                </c:pt>
                <c:pt idx="1">
                  <c:v>71.7177058645579</c:v>
                </c:pt>
                <c:pt idx="2">
                  <c:v>66.0878838230485</c:v>
                </c:pt>
                <c:pt idx="3">
                  <c:v>78.680993183605807</c:v>
                </c:pt>
                <c:pt idx="4">
                  <c:v>85.304224360587895</c:v>
                </c:pt>
                <c:pt idx="5">
                  <c:v>92.676441389458304</c:v>
                </c:pt>
                <c:pt idx="6">
                  <c:v>93.389984522508101</c:v>
                </c:pt>
                <c:pt idx="7">
                  <c:v>78.247258979494603</c:v>
                </c:pt>
                <c:pt idx="8">
                  <c:v>76.157212457264905</c:v>
                </c:pt>
                <c:pt idx="9">
                  <c:v>68.812374291300202</c:v>
                </c:pt>
                <c:pt idx="10">
                  <c:v>60.015109026595297</c:v>
                </c:pt>
                <c:pt idx="11">
                  <c:v>58.1954211934125</c:v>
                </c:pt>
                <c:pt idx="12">
                  <c:v>57.869905945318401</c:v>
                </c:pt>
                <c:pt idx="13">
                  <c:v>57.271934331007699</c:v>
                </c:pt>
                <c:pt idx="14">
                  <c:v>58.827942373736199</c:v>
                </c:pt>
                <c:pt idx="15">
                  <c:v>53.815375357947701</c:v>
                </c:pt>
                <c:pt idx="16">
                  <c:v>53.929188842207303</c:v>
                </c:pt>
                <c:pt idx="17">
                  <c:v>54.909522120157803</c:v>
                </c:pt>
                <c:pt idx="18">
                  <c:v>55.747232409699301</c:v>
                </c:pt>
                <c:pt idx="19">
                  <c:v>55.589714379231303</c:v>
                </c:pt>
                <c:pt idx="20">
                  <c:v>57.4021975107933</c:v>
                </c:pt>
                <c:pt idx="21">
                  <c:v>56.489316283554203</c:v>
                </c:pt>
                <c:pt idx="22">
                  <c:v>57.573791714346001</c:v>
                </c:pt>
                <c:pt idx="23">
                  <c:v>58.167742758215702</c:v>
                </c:pt>
                <c:pt idx="24">
                  <c:v>62.591192504545802</c:v>
                </c:pt>
                <c:pt idx="25">
                  <c:v>63.368565410484401</c:v>
                </c:pt>
              </c:numCache>
            </c:numRef>
          </c:val>
          <c:smooth val="0"/>
          <c:extLst>
            <c:ext xmlns:c16="http://schemas.microsoft.com/office/drawing/2014/chart" uri="{C3380CC4-5D6E-409C-BE32-E72D297353CC}">
              <c16:uniqueId val="{00000002-D2B1-489B-AE4A-ABB6F46A4EF9}"/>
            </c:ext>
          </c:extLst>
        </c:ser>
        <c:dLbls>
          <c:showLegendKey val="0"/>
          <c:showVal val="0"/>
          <c:showCatName val="0"/>
          <c:showSerName val="0"/>
          <c:showPercent val="0"/>
          <c:showBubbleSize val="0"/>
        </c:dLbls>
        <c:smooth val="0"/>
        <c:axId val="452680336"/>
        <c:axId val="452675056"/>
      </c:lineChart>
      <c:dateAx>
        <c:axId val="452680336"/>
        <c:scaling>
          <c:orientation val="minMax"/>
        </c:scaling>
        <c:delete val="0"/>
        <c:axPos val="b"/>
        <c:numFmt formatCode="m/d/yyyy"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452675056"/>
        <c:crosses val="autoZero"/>
        <c:auto val="1"/>
        <c:lblOffset val="100"/>
        <c:baseTimeUnit val="years"/>
      </c:dateAx>
      <c:valAx>
        <c:axId val="452675056"/>
        <c:scaling>
          <c:orientation val="minMax"/>
          <c:min val="30"/>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452680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de-DE"/>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364</cdr:x>
      <cdr:y>0.01002</cdr:y>
    </cdr:from>
    <cdr:to>
      <cdr:x>0.08161</cdr:x>
      <cdr:y>0.30551</cdr:y>
    </cdr:to>
    <cdr:sp macro="" textlink="">
      <cdr:nvSpPr>
        <cdr:cNvPr id="3" name="Rechteck 2"/>
        <cdr:cNvSpPr/>
      </cdr:nvSpPr>
      <cdr:spPr>
        <a:xfrm xmlns:a="http://schemas.openxmlformats.org/drawingml/2006/main">
          <a:off x="110000" y="45461"/>
          <a:ext cx="548144" cy="1340661"/>
        </a:xfrm>
        <a:prstGeom xmlns:a="http://schemas.openxmlformats.org/drawingml/2006/main" prst="rect">
          <a:avLst/>
        </a:prstGeom>
        <a:solidFill xmlns:a="http://schemas.openxmlformats.org/drawingml/2006/main">
          <a:sysClr val="window" lastClr="FFFFFF"/>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dr:relSizeAnchor xmlns:cdr="http://schemas.openxmlformats.org/drawingml/2006/chartDrawing">
    <cdr:from>
      <cdr:x>0.92065</cdr:x>
      <cdr:y>0.39566</cdr:y>
    </cdr:from>
    <cdr:to>
      <cdr:x>0.98862</cdr:x>
      <cdr:y>0.85643</cdr:y>
    </cdr:to>
    <cdr:sp macro="" textlink="">
      <cdr:nvSpPr>
        <cdr:cNvPr id="4" name="Rechteck 3"/>
        <cdr:cNvSpPr/>
      </cdr:nvSpPr>
      <cdr:spPr>
        <a:xfrm xmlns:a="http://schemas.openxmlformats.org/drawingml/2006/main">
          <a:off x="8556885" y="2376237"/>
          <a:ext cx="631740" cy="2767264"/>
        </a:xfrm>
        <a:prstGeom xmlns:a="http://schemas.openxmlformats.org/drawingml/2006/main" prst="rect">
          <a:avLst/>
        </a:prstGeom>
        <a:solidFill xmlns:a="http://schemas.openxmlformats.org/drawingml/2006/main">
          <a:sysClr val="window" lastClr="FFFFFF"/>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09747</cdr:x>
      <cdr:y>0.85362</cdr:y>
    </cdr:to>
    <cdr:sp macro="" textlink="">
      <cdr:nvSpPr>
        <cdr:cNvPr id="2" name="Rechteck 1">
          <a:extLst xmlns:a="http://schemas.openxmlformats.org/drawingml/2006/main">
            <a:ext uri="{FF2B5EF4-FFF2-40B4-BE49-F238E27FC236}">
              <a16:creationId xmlns:a16="http://schemas.microsoft.com/office/drawing/2014/main" id="{BE2EF525-086E-236D-B711-62FA880E45C1}"/>
            </a:ext>
          </a:extLst>
        </cdr:cNvPr>
        <cdr:cNvSpPr/>
      </cdr:nvSpPr>
      <cdr:spPr>
        <a:xfrm xmlns:a="http://schemas.openxmlformats.org/drawingml/2006/main">
          <a:off x="0" y="0"/>
          <a:ext cx="475342" cy="5356633"/>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4D1B4-8C55-8749-80B6-457D2C8B54D6}" type="datetimeFigureOut">
              <a:rPr lang="nb-NO" smtClean="0"/>
              <a:t>09.02.2025</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847843-BD54-8F40-848A-64886B8FA44C}" type="slidenum">
              <a:rPr lang="nb-NO" smtClean="0"/>
              <a:t>‹#›</a:t>
            </a:fld>
            <a:endParaRPr lang="nb-NO"/>
          </a:p>
        </p:txBody>
      </p:sp>
    </p:spTree>
    <p:extLst>
      <p:ext uri="{BB962C8B-B14F-4D97-AF65-F5344CB8AC3E}">
        <p14:creationId xmlns:p14="http://schemas.microsoft.com/office/powerpoint/2010/main" val="1625829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www.linkedin.com/feed/hashtag/?keywords=heatpumps&amp;highlightedUpdateUrns=urn%3Ali%3Aactivity%3A7292857552374026240" TargetMode="External"/><Relationship Id="rId3" Type="http://schemas.openxmlformats.org/officeDocument/2006/relationships/hyperlink" Target="https://www.linkedin.com/feed/hashtag/?keywords=flexibilityoptions&amp;highlightedUpdateUrns=urn%3Ali%3Aactivity%3A7292857552374026240" TargetMode="External"/><Relationship Id="rId7" Type="http://schemas.openxmlformats.org/officeDocument/2006/relationships/hyperlink" Target="https://www.linkedin.com/feed/hashtag/?keywords=electrolysers&amp;highlightedUpdateUrns=urn%3Ali%3Aactivity%3A7292857552374026240"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linkedin.com/feed/hashtag/?keywords=colocation&amp;highlightedUpdateUrns=urn%3Ali%3Aactivity%3A7292857552374026240" TargetMode="External"/><Relationship Id="rId5" Type="http://schemas.openxmlformats.org/officeDocument/2006/relationships/hyperlink" Target="https://www.linkedin.com/feed/hashtag/?keywords=standalone&amp;highlightedUpdateUrns=urn%3Ali%3Aactivity%3A7292857552374026240" TargetMode="External"/><Relationship Id="rId4" Type="http://schemas.openxmlformats.org/officeDocument/2006/relationships/hyperlink" Target="https://www.linkedin.com/feed/hashtag/?keywords=battery&amp;highlightedUpdateUrns=urn%3Ali%3Aactivity%3A7292857552374026240" TargetMode="External"/><Relationship Id="rId9" Type="http://schemas.openxmlformats.org/officeDocument/2006/relationships/hyperlink" Target="https://www.linkedin.com/feed/hashtag/?keywords=emobility&amp;highlightedUpdateUrns=urn%3Ali%3Aactivity%3A7292857552374026240"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lvl="0" indent="-342900">
              <a:buFont typeface="Symbol" panose="05050102010706020507" pitchFamily="18" charset="2"/>
              <a:buChar char=""/>
            </a:pPr>
            <a:r>
              <a:rPr lang="de-DE" sz="1200" dirty="0">
                <a:effectLst/>
                <a:latin typeface="Franklin Gothic Book" panose="020B0503020102020204" pitchFamily="34" charset="0"/>
                <a:ea typeface="Aptos" panose="020B0004020202020204" pitchFamily="34" charset="0"/>
                <a:cs typeface="Calibri" panose="020F0502020204030204" pitchFamily="34" charset="0"/>
              </a:rPr>
              <a:t>Extrempreise als Chance</a:t>
            </a:r>
            <a:endParaRPr lang="de-DE" sz="1200" dirty="0">
              <a:effectLst/>
              <a:latin typeface="Aptos" panose="020B0004020202020204" pitchFamily="34" charset="0"/>
              <a:ea typeface="Aptos" panose="020B0004020202020204" pitchFamily="34" charset="0"/>
              <a:cs typeface="Calibri" panose="020F0502020204030204" pitchFamily="34" charset="0"/>
            </a:endParaRPr>
          </a:p>
          <a:p>
            <a:pPr marL="342900" lvl="0" indent="-342900">
              <a:buFont typeface="Symbol" panose="05050102010706020507" pitchFamily="18" charset="2"/>
              <a:buChar char=""/>
            </a:pPr>
            <a:r>
              <a:rPr lang="de-DE" sz="1200" dirty="0">
                <a:effectLst/>
                <a:latin typeface="Franklin Gothic Book" panose="020B0503020102020204" pitchFamily="34" charset="0"/>
                <a:ea typeface="Aptos" panose="020B0004020202020204" pitchFamily="34" charset="0"/>
                <a:cs typeface="Calibri" panose="020F0502020204030204" pitchFamily="34" charset="0"/>
              </a:rPr>
              <a:t>Beschleunigung der flexiblen 24/7 Energiewelt</a:t>
            </a:r>
            <a:endParaRPr lang="de-DE" sz="1200" dirty="0">
              <a:effectLst/>
              <a:latin typeface="Aptos" panose="020B0004020202020204" pitchFamily="34" charset="0"/>
              <a:ea typeface="Aptos" panose="020B0004020202020204" pitchFamily="34" charset="0"/>
              <a:cs typeface="Calibri" panose="020F0502020204030204" pitchFamily="34" charset="0"/>
            </a:endParaRPr>
          </a:p>
          <a:p>
            <a:pPr marL="342900" lvl="0" indent="-342900">
              <a:buFont typeface="Symbol" panose="05050102010706020507" pitchFamily="18" charset="2"/>
              <a:buChar char=""/>
            </a:pPr>
            <a:r>
              <a:rPr lang="de-DE" sz="1200" dirty="0">
                <a:effectLst/>
                <a:latin typeface="Franklin Gothic Book" panose="020B0503020102020204" pitchFamily="34" charset="0"/>
                <a:ea typeface="Times New Roman" panose="02020603050405020304" pitchFamily="18" charset="0"/>
                <a:cs typeface="Calibri" panose="020F0502020204030204" pitchFamily="34" charset="0"/>
              </a:rPr>
              <a:t>Ausblick</a:t>
            </a:r>
            <a:endParaRPr lang="de-DE" sz="1200" dirty="0">
              <a:effectLst/>
              <a:latin typeface="Aptos" panose="020B0004020202020204" pitchFamily="34" charset="0"/>
              <a:ea typeface="Aptos" panose="020B0004020202020204" pitchFamily="34" charset="0"/>
              <a:cs typeface="Calibri" panose="020F0502020204030204" pitchFamily="34" charset="0"/>
            </a:endParaRPr>
          </a:p>
          <a:p>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1</a:t>
            </a:fld>
            <a:endParaRPr lang="nb-NO" dirty="0"/>
          </a:p>
        </p:txBody>
      </p:sp>
    </p:spTree>
    <p:extLst>
      <p:ext uri="{BB962C8B-B14F-4D97-AF65-F5344CB8AC3E}">
        <p14:creationId xmlns:p14="http://schemas.microsoft.com/office/powerpoint/2010/main" val="926623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LY</a:t>
            </a:r>
          </a:p>
          <a:p>
            <a:r>
              <a:rPr lang="de-DE" dirty="0" err="1"/>
              <a:t>Bureaucracy</a:t>
            </a:r>
            <a:r>
              <a:rPr lang="de-DE" dirty="0"/>
              <a:t> </a:t>
            </a:r>
            <a:r>
              <a:rPr lang="de-DE" dirty="0" err="1"/>
              <a:t>too</a:t>
            </a:r>
            <a:r>
              <a:rPr lang="de-DE" dirty="0"/>
              <a:t> </a:t>
            </a:r>
            <a:r>
              <a:rPr lang="de-DE" dirty="0" err="1"/>
              <a:t>difficult</a:t>
            </a:r>
            <a:endParaRPr lang="de-DE" dirty="0"/>
          </a:p>
          <a:p>
            <a:r>
              <a:rPr lang="de-DE" dirty="0"/>
              <a:t>PPAs </a:t>
            </a:r>
            <a:r>
              <a:rPr lang="de-DE" dirty="0" err="1"/>
              <a:t>difficult</a:t>
            </a:r>
            <a:r>
              <a:rPr lang="de-DE" dirty="0"/>
              <a:t> </a:t>
            </a:r>
            <a:r>
              <a:rPr lang="de-DE" dirty="0" err="1"/>
              <a:t>to</a:t>
            </a:r>
            <a:r>
              <a:rPr lang="de-DE" dirty="0"/>
              <a:t> find</a:t>
            </a:r>
          </a:p>
          <a:p>
            <a:r>
              <a:rPr lang="de-DE" dirty="0" err="1"/>
              <a:t>Additionality</a:t>
            </a:r>
            <a:r>
              <a:rPr lang="de-DE" dirty="0"/>
              <a:t> and </a:t>
            </a:r>
            <a:r>
              <a:rPr lang="de-DE" dirty="0" err="1"/>
              <a:t>simultaneous</a:t>
            </a:r>
            <a:r>
              <a:rPr lang="de-DE" dirty="0"/>
              <a:t> </a:t>
            </a:r>
            <a:r>
              <a:rPr lang="de-DE" dirty="0" err="1"/>
              <a:t>production</a:t>
            </a:r>
            <a:r>
              <a:rPr lang="de-DE" dirty="0"/>
              <a:t> &amp; </a:t>
            </a:r>
            <a:r>
              <a:rPr lang="de-DE" dirty="0" err="1"/>
              <a:t>consumption</a:t>
            </a:r>
            <a:r>
              <a:rPr lang="de-DE" dirty="0"/>
              <a:t> in </a:t>
            </a:r>
            <a:r>
              <a:rPr lang="de-DE" dirty="0" err="1"/>
              <a:t>question</a:t>
            </a:r>
            <a:endParaRPr lang="de-DE" dirty="0"/>
          </a:p>
          <a:p>
            <a:endParaRPr lang="de-DE" dirty="0"/>
          </a:p>
          <a:p>
            <a:endParaRPr lang="de-DE" dirty="0"/>
          </a:p>
          <a:p>
            <a:r>
              <a:rPr lang="de-DE" dirty="0" err="1"/>
              <a:t>Heatpump</a:t>
            </a:r>
            <a:r>
              <a:rPr lang="de-DE" dirty="0"/>
              <a:t>:</a:t>
            </a:r>
          </a:p>
          <a:p>
            <a:pPr marL="0" indent="0">
              <a:buNone/>
            </a:pPr>
            <a:r>
              <a:rPr lang="de-DE" dirty="0" err="1"/>
              <a:t>Governmental</a:t>
            </a:r>
            <a:r>
              <a:rPr lang="de-DE" dirty="0"/>
              <a:t> </a:t>
            </a:r>
            <a:r>
              <a:rPr lang="de-DE" dirty="0" err="1"/>
              <a:t>goal</a:t>
            </a:r>
            <a:r>
              <a:rPr lang="de-DE" dirty="0"/>
              <a:t>:</a:t>
            </a:r>
          </a:p>
          <a:p>
            <a:r>
              <a:rPr lang="de-DE" dirty="0"/>
              <a:t>500,000 </a:t>
            </a:r>
            <a:r>
              <a:rPr lang="de-DE" dirty="0" err="1"/>
              <a:t>installations</a:t>
            </a:r>
            <a:r>
              <a:rPr lang="de-DE" dirty="0"/>
              <a:t> </a:t>
            </a:r>
            <a:r>
              <a:rPr lang="de-DE" dirty="0" err="1"/>
              <a:t>each</a:t>
            </a:r>
            <a:r>
              <a:rPr lang="de-DE" dirty="0"/>
              <a:t> </a:t>
            </a:r>
            <a:r>
              <a:rPr lang="de-DE" dirty="0" err="1"/>
              <a:t>year</a:t>
            </a:r>
            <a:r>
              <a:rPr lang="de-DE" dirty="0"/>
              <a:t> </a:t>
            </a:r>
            <a:r>
              <a:rPr lang="de-DE" dirty="0" err="1"/>
              <a:t>from</a:t>
            </a:r>
            <a:r>
              <a:rPr lang="de-DE" dirty="0"/>
              <a:t> 2024 </a:t>
            </a:r>
            <a:r>
              <a:rPr lang="de-DE" dirty="0" err="1"/>
              <a:t>onwards</a:t>
            </a:r>
            <a:endParaRPr lang="de-DE" dirty="0"/>
          </a:p>
          <a:p>
            <a:r>
              <a:rPr lang="de-DE" dirty="0" err="1"/>
              <a:t>Assumption</a:t>
            </a:r>
            <a:r>
              <a:rPr lang="de-DE" dirty="0"/>
              <a:t>: 10 kW on </a:t>
            </a:r>
            <a:r>
              <a:rPr lang="de-DE" dirty="0" err="1"/>
              <a:t>average</a:t>
            </a:r>
            <a:endParaRPr lang="de-DE" dirty="0"/>
          </a:p>
          <a:p>
            <a:pPr marL="0" indent="0">
              <a:buNone/>
            </a:pPr>
            <a:r>
              <a:rPr lang="de-DE" dirty="0"/>
              <a:t>New </a:t>
            </a:r>
            <a:r>
              <a:rPr lang="de-DE" dirty="0" err="1"/>
              <a:t>installations</a:t>
            </a:r>
            <a:r>
              <a:rPr lang="de-DE" dirty="0"/>
              <a:t> </a:t>
            </a:r>
            <a:r>
              <a:rPr lang="de-DE" dirty="0" err="1"/>
              <a:t>achieved</a:t>
            </a:r>
            <a:endParaRPr lang="de-DE" dirty="0"/>
          </a:p>
          <a:p>
            <a:r>
              <a:rPr lang="de-DE" dirty="0"/>
              <a:t>2023: 356,000</a:t>
            </a:r>
          </a:p>
          <a:p>
            <a:r>
              <a:rPr lang="de-DE" dirty="0"/>
              <a:t>H1-2024: 90,000 </a:t>
            </a:r>
          </a:p>
          <a:p>
            <a:r>
              <a:rPr lang="de-DE" dirty="0"/>
              <a:t>2024 (</a:t>
            </a:r>
            <a:r>
              <a:rPr lang="de-DE" dirty="0" err="1"/>
              <a:t>expected</a:t>
            </a:r>
            <a:r>
              <a:rPr lang="de-DE" dirty="0"/>
              <a:t>): 200,000</a:t>
            </a:r>
          </a:p>
          <a:p>
            <a:endParaRPr lang="de-DE" dirty="0"/>
          </a:p>
          <a:p>
            <a:endParaRPr lang="de-DE" dirty="0"/>
          </a:p>
          <a:p>
            <a:pPr marL="0" indent="0">
              <a:buNone/>
            </a:pPr>
            <a:r>
              <a:rPr lang="de-DE" dirty="0"/>
              <a:t>E </a:t>
            </a:r>
            <a:r>
              <a:rPr lang="de-DE" dirty="0" err="1"/>
              <a:t>mOb</a:t>
            </a:r>
            <a:r>
              <a:rPr lang="de-DE" dirty="0"/>
              <a:t>: </a:t>
            </a:r>
          </a:p>
          <a:p>
            <a:pPr marL="0" indent="0">
              <a:buNone/>
            </a:pPr>
            <a:endParaRPr lang="de-DE" dirty="0"/>
          </a:p>
          <a:p>
            <a:pPr marL="0" indent="0">
              <a:buNone/>
            </a:pPr>
            <a:r>
              <a:rPr lang="de-DE" dirty="0"/>
              <a:t>Germany </a:t>
            </a:r>
            <a:r>
              <a:rPr lang="de-DE" dirty="0" err="1"/>
              <a:t>as</a:t>
            </a:r>
            <a:r>
              <a:rPr lang="de-DE" dirty="0"/>
              <a:t> a </a:t>
            </a:r>
            <a:r>
              <a:rPr lang="de-DE" dirty="0" err="1"/>
              <a:t>late</a:t>
            </a:r>
            <a:r>
              <a:rPr lang="de-DE" dirty="0"/>
              <a:t> </a:t>
            </a:r>
            <a:r>
              <a:rPr lang="de-DE" dirty="0" err="1"/>
              <a:t>mover</a:t>
            </a:r>
            <a:endParaRPr lang="de-DE" dirty="0"/>
          </a:p>
          <a:p>
            <a:r>
              <a:rPr lang="de-DE" dirty="0" err="1"/>
              <a:t>No</a:t>
            </a:r>
            <a:r>
              <a:rPr lang="de-DE" dirty="0"/>
              <a:t> </a:t>
            </a:r>
            <a:r>
              <a:rPr lang="de-DE" dirty="0" err="1"/>
              <a:t>clear</a:t>
            </a:r>
            <a:r>
              <a:rPr lang="de-DE" dirty="0"/>
              <a:t> </a:t>
            </a:r>
            <a:r>
              <a:rPr lang="de-DE" dirty="0" err="1"/>
              <a:t>incentives</a:t>
            </a:r>
            <a:r>
              <a:rPr lang="de-DE" dirty="0"/>
              <a:t>, </a:t>
            </a:r>
            <a:r>
              <a:rPr lang="de-DE" dirty="0" err="1"/>
              <a:t>no</a:t>
            </a:r>
            <a:r>
              <a:rPr lang="de-DE" dirty="0"/>
              <a:t> </a:t>
            </a:r>
            <a:r>
              <a:rPr lang="de-DE" dirty="0" err="1"/>
              <a:t>passionate</a:t>
            </a:r>
            <a:r>
              <a:rPr lang="de-DE" dirty="0"/>
              <a:t> </a:t>
            </a:r>
            <a:r>
              <a:rPr lang="de-DE" dirty="0" err="1"/>
              <a:t>strategy</a:t>
            </a:r>
            <a:r>
              <a:rPr lang="de-DE" dirty="0"/>
              <a:t>, </a:t>
            </a:r>
            <a:r>
              <a:rPr lang="de-DE" dirty="0" err="1"/>
              <a:t>no</a:t>
            </a:r>
            <a:r>
              <a:rPr lang="de-DE" dirty="0"/>
              <a:t> </a:t>
            </a:r>
            <a:r>
              <a:rPr lang="de-DE" dirty="0" err="1"/>
              <a:t>effective</a:t>
            </a:r>
            <a:r>
              <a:rPr lang="de-DE" dirty="0"/>
              <a:t> support</a:t>
            </a:r>
          </a:p>
          <a:p>
            <a:r>
              <a:rPr lang="de-DE" dirty="0" err="1"/>
              <a:t>Attempt</a:t>
            </a:r>
            <a:r>
              <a:rPr lang="de-DE" dirty="0"/>
              <a:t> </a:t>
            </a:r>
            <a:r>
              <a:rPr lang="de-DE" dirty="0" err="1"/>
              <a:t>to</a:t>
            </a:r>
            <a:r>
              <a:rPr lang="de-DE" dirty="0"/>
              <a:t> </a:t>
            </a:r>
            <a:r>
              <a:rPr lang="de-DE" dirty="0" err="1"/>
              <a:t>protect</a:t>
            </a:r>
            <a:r>
              <a:rPr lang="de-DE" dirty="0"/>
              <a:t> </a:t>
            </a:r>
            <a:r>
              <a:rPr lang="de-DE" dirty="0" err="1"/>
              <a:t>combustion</a:t>
            </a:r>
            <a:r>
              <a:rPr lang="de-DE" dirty="0"/>
              <a:t> </a:t>
            </a:r>
            <a:r>
              <a:rPr lang="de-DE" dirty="0" err="1"/>
              <a:t>engines</a:t>
            </a:r>
            <a:endParaRPr lang="de-DE" dirty="0"/>
          </a:p>
          <a:p>
            <a:r>
              <a:rPr lang="de-DE" dirty="0" err="1"/>
              <a:t>cars</a:t>
            </a:r>
            <a:r>
              <a:rPr lang="de-DE" dirty="0"/>
              <a:t> and </a:t>
            </a:r>
            <a:r>
              <a:rPr lang="de-DE" dirty="0" err="1"/>
              <a:t>charging</a:t>
            </a:r>
            <a:r>
              <a:rPr lang="de-DE" dirty="0"/>
              <a:t> </a:t>
            </a:r>
            <a:r>
              <a:rPr lang="de-DE" dirty="0" err="1"/>
              <a:t>stations</a:t>
            </a:r>
            <a:r>
              <a:rPr lang="de-DE" dirty="0"/>
              <a:t>: </a:t>
            </a:r>
            <a:r>
              <a:rPr lang="de-DE" dirty="0" err="1"/>
              <a:t>chicken</a:t>
            </a:r>
            <a:r>
              <a:rPr lang="de-DE" dirty="0"/>
              <a:t> and egg</a:t>
            </a:r>
          </a:p>
          <a:p>
            <a:pPr marL="0" indent="0">
              <a:buNone/>
            </a:pPr>
            <a:r>
              <a:rPr lang="de-DE" dirty="0"/>
              <a:t>Outlook:</a:t>
            </a:r>
          </a:p>
          <a:p>
            <a:r>
              <a:rPr lang="de-DE" dirty="0"/>
              <a:t>Massive </a:t>
            </a:r>
            <a:r>
              <a:rPr lang="de-DE" dirty="0" err="1"/>
              <a:t>charging</a:t>
            </a:r>
            <a:r>
              <a:rPr lang="de-DE" dirty="0"/>
              <a:t>/</a:t>
            </a:r>
            <a:r>
              <a:rPr lang="de-DE" dirty="0" err="1"/>
              <a:t>discharging</a:t>
            </a:r>
            <a:r>
              <a:rPr lang="de-DE" dirty="0"/>
              <a:t> </a:t>
            </a:r>
            <a:r>
              <a:rPr lang="de-DE" dirty="0" err="1"/>
              <a:t>capacity</a:t>
            </a:r>
            <a:r>
              <a:rPr lang="de-DE" dirty="0"/>
              <a:t> </a:t>
            </a:r>
          </a:p>
          <a:p>
            <a:r>
              <a:rPr lang="de-DE" dirty="0" err="1"/>
              <a:t>Temporary</a:t>
            </a:r>
            <a:r>
              <a:rPr lang="de-DE" dirty="0"/>
              <a:t> </a:t>
            </a:r>
            <a:r>
              <a:rPr lang="de-DE" dirty="0" err="1"/>
              <a:t>available</a:t>
            </a:r>
            <a:r>
              <a:rPr lang="de-DE" dirty="0"/>
              <a:t>, mobile</a:t>
            </a:r>
          </a:p>
          <a:p>
            <a:endParaRPr lang="de-DE" dirty="0"/>
          </a:p>
          <a:p>
            <a:endParaRPr lang="de-DE" dirty="0"/>
          </a:p>
          <a:p>
            <a:r>
              <a:rPr lang="de-DE" dirty="0" err="1"/>
              <a:t>Battery</a:t>
            </a:r>
            <a:r>
              <a:rPr lang="de-DE" dirty="0"/>
              <a:t>: </a:t>
            </a:r>
          </a:p>
          <a:p>
            <a:r>
              <a:rPr lang="en-US" dirty="0"/>
              <a:t>The difficulty with BESS is not so much getting current figures (we have a good source for DE with battery-charts.de), but rather estimating how much of this capacity is actually available to the DA market. We are currently assuming (perhaps a little too conservatively) that it is only 25 % of the total capacity and output of large storage systems.</a:t>
            </a:r>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10</a:t>
            </a:fld>
            <a:endParaRPr lang="nb-NO"/>
          </a:p>
        </p:txBody>
      </p:sp>
    </p:spTree>
    <p:extLst>
      <p:ext uri="{BB962C8B-B14F-4D97-AF65-F5344CB8AC3E}">
        <p14:creationId xmlns:p14="http://schemas.microsoft.com/office/powerpoint/2010/main" val="669465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But let's take a look at what happens to the price of electricity if we change something in the flexible demand for electricity.</a:t>
            </a:r>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11</a:t>
            </a:fld>
            <a:endParaRPr lang="nb-NO"/>
          </a:p>
        </p:txBody>
      </p:sp>
    </p:spTree>
    <p:extLst>
      <p:ext uri="{BB962C8B-B14F-4D97-AF65-F5344CB8AC3E}">
        <p14:creationId xmlns:p14="http://schemas.microsoft.com/office/powerpoint/2010/main" val="33331349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We have calculated a small sensitivity using our electricity price scenarios and the central scenario for our Q3 2024 update and looked at what would happen to the power price if we were to make our electricity demand more flexible or reduce less flexible than we assume in the </a:t>
            </a:r>
            <a:r>
              <a:rPr lang="en-US" dirty="0" err="1"/>
              <a:t>scneario</a:t>
            </a:r>
            <a:r>
              <a:rPr lang="en-US" dirty="0"/>
              <a:t>.</a:t>
            </a:r>
          </a:p>
          <a:p>
            <a:r>
              <a:rPr lang="en-US" dirty="0"/>
              <a:t>50% lower here means that we have less flexible electricity demand but more fixed or inflexible electricity demand to compensate for this less flexible demand. So we have changed the composition of the electricity demand here.</a:t>
            </a:r>
          </a:p>
          <a:p>
            <a:r>
              <a:rPr lang="en-US" dirty="0"/>
              <a:t>50% higher means that we assume more flexible electricity demand and less fix electricity demand.</a:t>
            </a:r>
          </a:p>
          <a:p>
            <a:endParaRPr lang="en-US" dirty="0"/>
          </a:p>
          <a:p>
            <a:r>
              <a:rPr lang="en-US" dirty="0"/>
              <a:t>With less flexible electricity demand, electricity prices would rise significantly in the next 10 years and then have no big impact on the power price from 2035. So With less flexible electricity demand, the electricity price would initially rise because more generation from expensive generation or imports would be needed in the hours when there is not enough RE generation available on the market and the (more fixed) electricity demand would then have to be covered.</a:t>
            </a:r>
          </a:p>
          <a:p>
            <a:r>
              <a:rPr lang="en-US" dirty="0"/>
              <a:t>In the long term, however, it also means that with low-flex sensitivity less power shifted to low-price hours, so to the PV peak hours so that the price decrease in this hours and on average the price level not change compared to our standard scenario.</a:t>
            </a:r>
            <a:endParaRPr lang="de-DE" dirty="0"/>
          </a:p>
          <a:p>
            <a:pPr marL="0" indent="0">
              <a:buFont typeface="Arial" panose="020B0604020202020204" pitchFamily="34" charset="0"/>
              <a:buNone/>
            </a:pPr>
            <a:endParaRPr lang="en-US" dirty="0">
              <a:latin typeface="Haffer Light" panose="020B0604020202020204" charset="0"/>
              <a:cs typeface="Haffer Light" panose="020B060402020202020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latin typeface="Haffer Light" panose="020B0604020202020204" charset="0"/>
                <a:cs typeface="Haffer Light" panose="020B0604020202020204" charset="0"/>
              </a:rPr>
              <a:t>With a higher flexible demand for electricity, the spot market price would be reduced by 5 to 10 %, because the ‘positive’ extreme events can now be prevented, as we have less fixed demand and the flexible consumers will not demand electricity in these hours. On the other hand, there are the hours, especially in summer, when the flexible electricity consumers shift more power to low-price hours (PV peak hours) and thus increase the electricity price in these hours. Overall, the annual average electricity price decrease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latin typeface="Haffer Light" panose="020B0604020202020204" charset="0"/>
              <a:cs typeface="Haffer Light" panose="020B060402020202020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latin typeface="Haffer Light" panose="020B0604020202020204" charset="0"/>
                <a:cs typeface="Haffer Light" panose="020B0604020202020204" charset="0"/>
              </a:rPr>
              <a:t>So if we want to prevent us better for the high electricity prices the flexible demand can </a:t>
            </a:r>
            <a:r>
              <a:rPr lang="en-US" dirty="0" err="1">
                <a:latin typeface="Haffer Light" panose="020B0604020202020204" charset="0"/>
                <a:cs typeface="Haffer Light" panose="020B0604020202020204" charset="0"/>
              </a:rPr>
              <a:t>contriubute</a:t>
            </a:r>
            <a:r>
              <a:rPr lang="en-US" dirty="0">
                <a:latin typeface="Haffer Light" panose="020B0604020202020204" charset="0"/>
                <a:cs typeface="Haffer Light" panose="020B0604020202020204" charset="0"/>
              </a:rPr>
              <a:t> here good. To </a:t>
            </a:r>
            <a:r>
              <a:rPr lang="en-US" dirty="0" err="1">
                <a:latin typeface="Haffer Light" panose="020B0604020202020204" charset="0"/>
                <a:cs typeface="Haffer Light" panose="020B0604020202020204" charset="0"/>
              </a:rPr>
              <a:t>takel</a:t>
            </a:r>
            <a:r>
              <a:rPr lang="en-US" dirty="0">
                <a:latin typeface="Haffer Light" panose="020B0604020202020204" charset="0"/>
                <a:cs typeface="Haffer Light" panose="020B0604020202020204" charset="0"/>
              </a:rPr>
              <a:t> against negative prices the flexible Demands also helps by shifting more demand in hours with high generation especially in the </a:t>
            </a:r>
            <a:r>
              <a:rPr lang="en-US" dirty="0" err="1">
                <a:latin typeface="Haffer Light" panose="020B0604020202020204" charset="0"/>
                <a:cs typeface="Haffer Light" panose="020B0604020202020204" charset="0"/>
              </a:rPr>
              <a:t>the</a:t>
            </a:r>
            <a:r>
              <a:rPr lang="en-US" dirty="0">
                <a:latin typeface="Haffer Light" panose="020B0604020202020204" charset="0"/>
                <a:cs typeface="Haffer Light" panose="020B0604020202020204" charset="0"/>
              </a:rPr>
              <a:t> PV peak times.</a:t>
            </a:r>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12</a:t>
            </a:fld>
            <a:endParaRPr lang="nb-NO"/>
          </a:p>
        </p:txBody>
      </p:sp>
    </p:spTree>
    <p:extLst>
      <p:ext uri="{BB962C8B-B14F-4D97-AF65-F5344CB8AC3E}">
        <p14:creationId xmlns:p14="http://schemas.microsoft.com/office/powerpoint/2010/main" val="1334434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nSpc>
                <a:spcPct val="115000"/>
              </a:lnSpc>
              <a:spcAft>
                <a:spcPts val="800"/>
              </a:spcAft>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In recent years, the volatility of electricity prices on the day-ahead market in Germany has increased significantly. Since 2023 in particular, extreme price peaks have been occurring more frequently, both in the form of very “high” and “negative” prices. But let's take a more detailed look on the German Day-Ahead market therefore:</a:t>
            </a: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15000"/>
              </a:lnSpc>
              <a:buFont typeface="Symbol" panose="05050102010706020507" pitchFamily="18" charset="2"/>
              <a:buChar char=""/>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Until the </a:t>
            </a:r>
            <a:r>
              <a:rPr lang="en-GB" sz="1800" kern="100" dirty="0" err="1">
                <a:effectLst/>
                <a:latin typeface="Aptos" panose="020B0004020202020204" pitchFamily="34" charset="0"/>
                <a:ea typeface="Aptos" panose="020B0004020202020204" pitchFamily="34" charset="0"/>
                <a:cs typeface="Times New Roman" panose="02020603050405020304" pitchFamily="18" charset="0"/>
              </a:rPr>
              <a:t>the</a:t>
            </a:r>
            <a:r>
              <a:rPr lang="en-GB" sz="1800" kern="100" dirty="0">
                <a:effectLst/>
                <a:latin typeface="Aptos" panose="020B0004020202020204" pitchFamily="34" charset="0"/>
                <a:ea typeface="Aptos" panose="020B0004020202020204" pitchFamily="34" charset="0"/>
                <a:cs typeface="Times New Roman" panose="02020603050405020304" pitchFamily="18" charset="0"/>
              </a:rPr>
              <a:t> end of 2021, the overall electricity price level was relatively low, and no significant volatility could be observed. Regarding extreme prices, very few "high" extreme prices were noted, but a relatively large number of "negative" extreme prices occurred.</a:t>
            </a: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15000"/>
              </a:lnSpc>
              <a:buFont typeface="Symbol" panose="05050102010706020507" pitchFamily="18" charset="2"/>
              <a:buChar char=""/>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During the energy price crisis, a significantly higher electricity price level was accompanied by a sharp increase in volatility. This period saw a noticeable rise in "high" extreme prices, driven by the high gas prices at the time. However, during hours when renewable energy set the market prices, the price level dropped significantly but "negative" prices were rare in this phase.</a:t>
            </a: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15000"/>
              </a:lnSpc>
              <a:spcAft>
                <a:spcPts val="800"/>
              </a:spcAft>
              <a:buFont typeface="Symbol" panose="05050102010706020507" pitchFamily="18" charset="2"/>
              <a:buChar char=""/>
            </a:pPr>
            <a:r>
              <a:rPr lang="en-GB" sz="1800" kern="100" dirty="0">
                <a:effectLst/>
                <a:latin typeface="Aptos" panose="020B0004020202020204" pitchFamily="34" charset="0"/>
                <a:ea typeface="Aptos" panose="020B0004020202020204" pitchFamily="34" charset="0"/>
                <a:cs typeface="Times New Roman" panose="02020603050405020304" pitchFamily="18" charset="0"/>
              </a:rPr>
              <a:t>From 2023 onwards, the general price level declined again to a lower range compared to the previous phase. Nevertheless, it remained significantly above the pre-crisis level and also exhibited much higher volatility of the electricity prices. Since then, we have observed a considerable number of both "high" and "negative" electricity prices. Notably, many "extreme events" in this period have resulted in exceptionally high prices.</a:t>
            </a:r>
            <a:endParaRPr lang="de-DE" sz="1800" kern="100" dirty="0">
              <a:effectLst/>
              <a:latin typeface="Aptos" panose="020B0004020202020204" pitchFamily="34" charset="0"/>
              <a:ea typeface="Aptos" panose="020B0004020202020204"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10"/>
          </p:nvPr>
        </p:nvSpPr>
        <p:spPr/>
        <p:txBody>
          <a:bodyPr/>
          <a:lstStyle/>
          <a:p>
            <a:fld id="{5E0E8A27-CADE-466D-A280-5AD56A3E5FD9}" type="slidenum">
              <a:rPr lang="de-DE" smtClean="0"/>
              <a:pPr/>
              <a:t>2</a:t>
            </a:fld>
            <a:endParaRPr lang="de-DE"/>
          </a:p>
        </p:txBody>
      </p:sp>
    </p:spTree>
    <p:extLst>
      <p:ext uri="{BB962C8B-B14F-4D97-AF65-F5344CB8AC3E}">
        <p14:creationId xmlns:p14="http://schemas.microsoft.com/office/powerpoint/2010/main" val="31565460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800" dirty="0">
                <a:effectLst/>
                <a:latin typeface="Segoe UI Emoji" panose="020B0502040204020203" pitchFamily="34" charset="0"/>
                <a:ea typeface="Times New Roman" panose="02020603050405020304" pitchFamily="18" charset="0"/>
                <a:cs typeface="Segoe UI Emoji" panose="020B0502040204020203" pitchFamily="34" charset="0"/>
              </a:rPr>
              <a:t>🔴</a:t>
            </a:r>
            <a:r>
              <a:rPr lang="de-DE" sz="1800" dirty="0">
                <a:effectLst/>
                <a:latin typeface="Segoe UI" panose="020B0502040204020203" pitchFamily="34" charset="0"/>
                <a:ea typeface="Times New Roman" panose="02020603050405020304" pitchFamily="18" charset="0"/>
              </a:rPr>
              <a:t> </a:t>
            </a:r>
            <a:r>
              <a:rPr lang="en-GB" sz="1800" b="1" dirty="0">
                <a:effectLst/>
                <a:latin typeface="Segoe UI" panose="020B0502040204020203" pitchFamily="34" charset="0"/>
                <a:ea typeface="Times New Roman" panose="02020603050405020304" pitchFamily="18" charset="0"/>
              </a:rPr>
              <a:t>29. August 2022</a:t>
            </a:r>
            <a:r>
              <a:rPr lang="en-GB" sz="1800" dirty="0">
                <a:effectLst/>
                <a:latin typeface="Segoe UI" panose="020B0502040204020203" pitchFamily="34" charset="0"/>
                <a:ea typeface="Times New Roman" panose="02020603050405020304" pitchFamily="18" charset="0"/>
              </a:rPr>
              <a:t> – The highest day-ahead wholesale electricity price during the energy price crisis occurred on Monday, 29 August 2022 between 7 p.m. and 8 p.m. with 871.00 EUR/MWh. In this hour, electricity consumption of around 56.0 GWh met a low feed-in from renewables (around 11.6 GWh) and a high feed-in from conventional sources (around 43.2 GWh). The high fuel costs - especially the price of gas - then led to the high prices on the market in this hour.</a:t>
            </a:r>
            <a:endParaRPr lang="de-DE" sz="1800" dirty="0">
              <a:effectLst/>
              <a:latin typeface="Times New Roman" panose="02020603050405020304" pitchFamily="18" charset="0"/>
              <a:ea typeface="Times New Roman" panose="02020603050405020304" pitchFamily="18" charset="0"/>
            </a:endParaRPr>
          </a:p>
          <a:p>
            <a:endParaRPr lang="de-DE" sz="1800" dirty="0">
              <a:effectLst/>
              <a:latin typeface="Segoe UI Emoji" panose="020B0502040204020203" pitchFamily="34" charset="0"/>
              <a:ea typeface="Times New Roman" panose="02020603050405020304" pitchFamily="18" charset="0"/>
              <a:cs typeface="Segoe UI Emoji" panose="020B0502040204020203" pitchFamily="34" charset="0"/>
            </a:endParaRPr>
          </a:p>
          <a:p>
            <a:r>
              <a:rPr lang="de-DE" sz="1800" dirty="0">
                <a:effectLst/>
                <a:latin typeface="Segoe UI Emoji" panose="020B0502040204020203" pitchFamily="34" charset="0"/>
                <a:ea typeface="Times New Roman" panose="02020603050405020304" pitchFamily="18" charset="0"/>
                <a:cs typeface="Segoe UI Emoji" panose="020B0502040204020203" pitchFamily="34" charset="0"/>
              </a:rPr>
              <a:t>🌞</a:t>
            </a:r>
            <a:r>
              <a:rPr lang="de-DE" sz="1800" dirty="0">
                <a:effectLst/>
                <a:latin typeface="Segoe UI" panose="020B0502040204020203" pitchFamily="34" charset="0"/>
                <a:ea typeface="Times New Roman" panose="02020603050405020304" pitchFamily="18" charset="0"/>
              </a:rPr>
              <a:t> </a:t>
            </a:r>
            <a:r>
              <a:rPr lang="en-GB" sz="1800" b="1" dirty="0">
                <a:effectLst/>
                <a:latin typeface="Segoe UI" panose="020B0502040204020203" pitchFamily="34" charset="0"/>
                <a:ea typeface="Times New Roman" panose="02020603050405020304" pitchFamily="18" charset="0"/>
              </a:rPr>
              <a:t>2. July 2023</a:t>
            </a:r>
            <a:r>
              <a:rPr lang="en-GB" sz="1800" dirty="0">
                <a:effectLst/>
                <a:latin typeface="Segoe UI" panose="020B0502040204020203" pitchFamily="34" charset="0"/>
                <a:ea typeface="Times New Roman" panose="02020603050405020304" pitchFamily="18" charset="0"/>
              </a:rPr>
              <a:t> – A significant incident occurred on 2 July 2023, when the day-ahead price fell to -500 EUR/MWh. This was caused by a combination of high renewable energy generation, particularly on a sunny and windy day, low electricity demand due to the weekend and moderate temperatures and the operation of inflexible conventional power plants that continued to produce despite negative prices. These factors led to an oversupply and therefore to this negative prices.</a:t>
            </a:r>
            <a:br>
              <a:rPr lang="en-GB" sz="1800" dirty="0">
                <a:effectLst/>
                <a:latin typeface="Segoe UI" panose="020B0502040204020203" pitchFamily="34" charset="0"/>
                <a:ea typeface="Times New Roman" panose="02020603050405020304" pitchFamily="18" charset="0"/>
              </a:rPr>
            </a:br>
            <a:br>
              <a:rPr lang="en-GB" sz="1800" dirty="0">
                <a:effectLst/>
                <a:latin typeface="Segoe UI" panose="020B0502040204020203" pitchFamily="34" charset="0"/>
                <a:ea typeface="Times New Roman" panose="02020603050405020304" pitchFamily="18" charset="0"/>
              </a:rPr>
            </a:br>
            <a:r>
              <a:rPr lang="en-GB" sz="1800" dirty="0">
                <a:effectLst/>
                <a:latin typeface="Segoe UI Symbol" panose="020B0502040204020203" pitchFamily="34" charset="0"/>
                <a:ea typeface="Times New Roman" panose="02020603050405020304" pitchFamily="18" charset="0"/>
                <a:cs typeface="Segoe UI Symbol" panose="020B0502040204020203" pitchFamily="34" charset="0"/>
              </a:rPr>
              <a:t>⚠️</a:t>
            </a:r>
            <a:r>
              <a:rPr lang="de-DE" sz="1800" dirty="0">
                <a:effectLst/>
                <a:latin typeface="Segoe UI" panose="020B0502040204020203" pitchFamily="34" charset="0"/>
                <a:ea typeface="Times New Roman" panose="02020603050405020304" pitchFamily="18" charset="0"/>
              </a:rPr>
              <a:t> </a:t>
            </a:r>
            <a:r>
              <a:rPr lang="en-GB" sz="1800" b="1" dirty="0">
                <a:effectLst/>
                <a:latin typeface="Segoe UI" panose="020B0502040204020203" pitchFamily="34" charset="0"/>
                <a:ea typeface="Times New Roman" panose="02020603050405020304" pitchFamily="18" charset="0"/>
              </a:rPr>
              <a:t>26. June 2024</a:t>
            </a:r>
            <a:r>
              <a:rPr lang="en-GB" sz="1800" dirty="0">
                <a:effectLst/>
                <a:latin typeface="Segoe UI" panose="020B0502040204020203" pitchFamily="34" charset="0"/>
                <a:ea typeface="Times New Roman" panose="02020603050405020304" pitchFamily="18" charset="0"/>
              </a:rPr>
              <a:t> –On 26 June 2024, there was a technical failure on the EPEX Spot electricity exchange, which led to a partial decoupling of the European electricity market. As a result, the price on the German day-ahead market rose to up to 2,325.83 EUR/MWh between 6 and 7 a.m. This extraordinary price spike was due to the limited market integration and limited supply. This extreme price was many times higher than the highest price during the energy price crisis.</a:t>
            </a:r>
            <a:endParaRPr lang="de-DE" sz="1800" dirty="0">
              <a:effectLst/>
              <a:latin typeface="Times New Roman" panose="02020603050405020304" pitchFamily="18" charset="0"/>
              <a:ea typeface="Times New Roman" panose="02020603050405020304" pitchFamily="18" charset="0"/>
            </a:endParaRPr>
          </a:p>
          <a:p>
            <a:endParaRPr lang="en-GB" sz="1800" b="1" dirty="0">
              <a:effectLst/>
              <a:latin typeface="Segoe UI" panose="020B0502040204020203" pitchFamily="34" charset="0"/>
              <a:ea typeface="Times New Roman" panose="02020603050405020304" pitchFamily="18" charset="0"/>
            </a:endParaRPr>
          </a:p>
          <a:p>
            <a:r>
              <a:rPr lang="en-GB" sz="1800" b="1" dirty="0">
                <a:effectLst/>
                <a:latin typeface="Segoe UI" panose="020B0502040204020203" pitchFamily="34" charset="0"/>
                <a:ea typeface="Times New Roman" panose="02020603050405020304" pitchFamily="18" charset="0"/>
              </a:rPr>
              <a:t>06. December 2024</a:t>
            </a:r>
            <a:r>
              <a:rPr lang="en-GB" sz="1800" dirty="0">
                <a:effectLst/>
                <a:latin typeface="Segoe UI" panose="020B0502040204020203" pitchFamily="34" charset="0"/>
                <a:ea typeface="Times New Roman" panose="02020603050405020304" pitchFamily="18" charset="0"/>
              </a:rPr>
              <a:t> - On 6 November 2024, the day-ahead electricity price in Germany reached 805.08 EUR/MWh in the hour between 6 and 7 in the evening. The reason for this was the so-called ‘</a:t>
            </a:r>
            <a:r>
              <a:rPr lang="en-GB" sz="1800" dirty="0" err="1">
                <a:effectLst/>
                <a:latin typeface="Segoe UI" panose="020B0502040204020203" pitchFamily="34" charset="0"/>
                <a:ea typeface="Times New Roman" panose="02020603050405020304" pitchFamily="18" charset="0"/>
              </a:rPr>
              <a:t>Dunkelflaute</a:t>
            </a:r>
            <a:r>
              <a:rPr lang="en-GB" sz="1800" dirty="0">
                <a:effectLst/>
                <a:latin typeface="Segoe UI" panose="020B0502040204020203" pitchFamily="34" charset="0"/>
                <a:ea typeface="Times New Roman" panose="02020603050405020304" pitchFamily="18" charset="0"/>
              </a:rPr>
              <a:t>”- a weather situation with low solar radiation and weak wind. As a result, electricity generation from renewable energies was greatly reduced. In order to ensure security of supply, fossil-fuelled power plants had to be used to a greater extent, which led to an increase in electricity prices. </a:t>
            </a:r>
            <a:endParaRPr lang="de-DE" sz="1800" dirty="0">
              <a:effectLst/>
              <a:latin typeface="Times New Roman" panose="02020603050405020304" pitchFamily="18" charset="0"/>
              <a:ea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DB847843-BD54-8F40-848A-64886B8FA44C}" type="slidenum">
              <a:rPr lang="nb-NO" smtClean="0"/>
              <a:t>3</a:t>
            </a:fld>
            <a:endParaRPr lang="nb-NO"/>
          </a:p>
        </p:txBody>
      </p:sp>
    </p:spTree>
    <p:extLst>
      <p:ext uri="{BB962C8B-B14F-4D97-AF65-F5344CB8AC3E}">
        <p14:creationId xmlns:p14="http://schemas.microsoft.com/office/powerpoint/2010/main" val="332070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i="0" dirty="0">
                <a:effectLst/>
                <a:latin typeface="-apple-system"/>
              </a:rPr>
              <a:t>In general:  Negative electricity prices occur when the supply of electricity exceeds demand, often due to high feed-ins from renewable energies coupled with low demand for electricity. </a:t>
            </a:r>
          </a:p>
          <a:p>
            <a:endParaRPr lang="de-DE" baseline="0" dirty="0"/>
          </a:p>
          <a:p>
            <a:r>
              <a:rPr lang="en-US" dirty="0"/>
              <a:t>The number of negative electricity prices rose until the energy crisis. The reason for the particularly high number of negative electricity prices in 2020 was a reduction in demand due to the coronavirus, while at the same time a high level of renewable energy feed-in prevailed on the market. As a result, 2020 was the record year for negative electricity prices up to that point.</a:t>
            </a:r>
          </a:p>
          <a:p>
            <a:r>
              <a:rPr lang="en-US" dirty="0"/>
              <a:t>In 2021, the number of negative hours was already significantly lower than in 2020, as 2021 was a poor year for RE yields and the supply of electricity was therefore somewhat reduced. From the second half of the year, electricity prices also increased due to rising gas prices.</a:t>
            </a:r>
          </a:p>
          <a:p>
            <a:r>
              <a:rPr lang="en-US" dirty="0"/>
              <a:t>In 2022, the number fell drastically once again, as electricity prices were high overall due to the gas price crisis and Russia's war of aggression against Ukraine.</a:t>
            </a:r>
          </a:p>
          <a:p>
            <a:r>
              <a:rPr lang="en-US" dirty="0"/>
              <a:t>2023 reversed the trend of falling negative prices again and even had more negative hours than 2020 - a full 3 hours. Of the 301 hours with negative hours, around 132 hours were in the period from May to August 2023, i.e. in the summer months in particular. This was also due to the decline in demand for electricity caused by the economic situation and a relatively high feed-in volume from renewable energies.</a:t>
            </a:r>
          </a:p>
          <a:p>
            <a:endParaRPr lang="en-US" baseline="0" dirty="0"/>
          </a:p>
          <a:p>
            <a:r>
              <a:rPr lang="en-US" baseline="0" dirty="0"/>
              <a:t>What we can also see, however, is that on an annual average the negative prices were rather ‘lower’ and did not ‘exceed’ -100, €/</a:t>
            </a:r>
            <a:r>
              <a:rPr lang="en-US" baseline="0" dirty="0" err="1"/>
              <a:t>Mwh</a:t>
            </a:r>
            <a:r>
              <a:rPr lang="en-US" baseline="0" dirty="0"/>
              <a:t>.</a:t>
            </a:r>
            <a:endParaRPr lang="de-DE" baseline="0" dirty="0"/>
          </a:p>
        </p:txBody>
      </p:sp>
      <p:sp>
        <p:nvSpPr>
          <p:cNvPr id="4" name="Foliennummernplatzhalter 3"/>
          <p:cNvSpPr>
            <a:spLocks noGrp="1"/>
          </p:cNvSpPr>
          <p:nvPr>
            <p:ph type="sldNum" sz="quarter" idx="10"/>
          </p:nvPr>
        </p:nvSpPr>
        <p:spPr/>
        <p:txBody>
          <a:bodyPr/>
          <a:lstStyle/>
          <a:p>
            <a:fld id="{96324C84-AECB-4AB7-B825-BEB5ED624460}" type="slidenum">
              <a:rPr lang="de-DE" smtClean="0"/>
              <a:t>4</a:t>
            </a:fld>
            <a:endParaRPr lang="de-DE"/>
          </a:p>
        </p:txBody>
      </p:sp>
    </p:spTree>
    <p:extLst>
      <p:ext uri="{BB962C8B-B14F-4D97-AF65-F5344CB8AC3E}">
        <p14:creationId xmlns:p14="http://schemas.microsoft.com/office/powerpoint/2010/main" val="29849356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apple-system"/>
              </a:rPr>
              <a:t> In 2024, a total of 457 hours with negative electricity prices were observed on the German day-ahead market. This is a significant increase compared to 2023 as we see.</a:t>
            </a:r>
            <a:br>
              <a:rPr lang="en-US" b="0" i="0" dirty="0">
                <a:effectLst/>
                <a:latin typeface="-apple-system"/>
              </a:rPr>
            </a:br>
            <a:br>
              <a:rPr lang="en-US" b="0" i="0" dirty="0">
                <a:effectLst/>
                <a:latin typeface="-apple-system"/>
              </a:rPr>
            </a:br>
            <a:br>
              <a:rPr lang="en-US" b="0" i="0" dirty="0">
                <a:effectLst/>
                <a:latin typeface="-apple-system"/>
              </a:rPr>
            </a:br>
            <a:r>
              <a:rPr lang="en-US" b="0" i="0" dirty="0">
                <a:effectLst/>
                <a:latin typeface="-apple-system"/>
              </a:rPr>
              <a:t>Looking at the months in which the most negative hours occurred, the summer months can be clearly identified. 343 of the hours with negative prices were in the months between April and August. In addition, most of the negative hours were between 12 am and 2 pm (around 293). We will look at this on the next slid in more detai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apple-system"/>
              </a:rPr>
              <a:t>This leads to the conclusion that the high generation from solar energy led to these ‘negative’ prices in 2024 since most of the solar production coming into the market at the specific hours and lead to the fact that the supply of electricity is bigger than the dem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apple-system"/>
              </a:rPr>
              <a:t>This is an interesting development, as historically negative prices have tended to occur in the winter months at night and were therefore more likely to be caused by high wind generation. In addition, negative hours in 2024 occurred as “blocks of negative prices”, i.e. several consecutive hours had a negative price and not that the negative hours </a:t>
            </a:r>
            <a:r>
              <a:rPr lang="en-US" b="0" i="0" dirty="0" err="1">
                <a:effectLst/>
                <a:latin typeface="-apple-system"/>
              </a:rPr>
              <a:t>occure</a:t>
            </a:r>
            <a:r>
              <a:rPr lang="en-US" b="0" i="0" dirty="0">
                <a:effectLst/>
                <a:latin typeface="-apple-system"/>
              </a:rPr>
              <a:t> as a single o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apple-system"/>
              </a:rPr>
              <a:t>Beside the negative prices there also a big amount of hours </a:t>
            </a:r>
            <a:r>
              <a:rPr lang="en-US" b="0" i="0" dirty="0" err="1">
                <a:effectLst/>
                <a:latin typeface="-apple-system"/>
              </a:rPr>
              <a:t>wich</a:t>
            </a:r>
            <a:r>
              <a:rPr lang="en-US" b="0" i="0" dirty="0">
                <a:effectLst/>
                <a:latin typeface="-apple-system"/>
              </a:rPr>
              <a:t> are not negative but zero, which is also interesting for the future revenue evaluation of PV and Wind assets.</a:t>
            </a:r>
            <a:br>
              <a:rPr lang="en-US" b="0" i="0" dirty="0">
                <a:effectLst/>
                <a:latin typeface="-apple-system"/>
              </a:rPr>
            </a:br>
            <a:br>
              <a:rPr lang="en-US" b="0" i="0" dirty="0">
                <a:effectLst/>
                <a:latin typeface="-apple-system"/>
              </a:rPr>
            </a:br>
            <a:r>
              <a:rPr lang="en-US" b="0" i="0" dirty="0">
                <a:effectLst/>
                <a:latin typeface="-apple-system"/>
              </a:rPr>
              <a:t>The lowest negative price in 2024 for Germany was ‘-135.45’ EUR/MWh On 12 May 2024 at 11 a.m. This was due to high generation from solar energy coupled with low electricity demand, which resulted in a block of 9 negative hours in a ro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effectLst/>
              <a:latin typeface="-apple-system"/>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effectLst/>
                <a:latin typeface="-apple-system"/>
              </a:rPr>
              <a:t>However, most of the negative prices, </a:t>
            </a:r>
            <a:r>
              <a:rPr lang="en-US" b="0" i="0" dirty="0" err="1">
                <a:effectLst/>
                <a:latin typeface="-apple-system"/>
              </a:rPr>
              <a:t>totalling</a:t>
            </a:r>
            <a:r>
              <a:rPr lang="en-US" b="0" i="0" dirty="0">
                <a:effectLst/>
                <a:latin typeface="-apple-system"/>
              </a:rPr>
              <a:t> 320, were in a range of 0 to -10 EUR/MWh. 132 hours between -10 and -100 EUR/MWh and “only” 5 hours above -100 EUR/MWh. This distribution of the ‘height’ of the negative prices corresponds to the historical pattern as we seen in the slide before. </a:t>
            </a:r>
            <a:endParaRPr lang="de-DE" baseline="0" dirty="0"/>
          </a:p>
        </p:txBody>
      </p:sp>
      <p:sp>
        <p:nvSpPr>
          <p:cNvPr id="4" name="Foliennummernplatzhalter 3"/>
          <p:cNvSpPr>
            <a:spLocks noGrp="1"/>
          </p:cNvSpPr>
          <p:nvPr>
            <p:ph type="sldNum" sz="quarter" idx="10"/>
          </p:nvPr>
        </p:nvSpPr>
        <p:spPr/>
        <p:txBody>
          <a:bodyPr/>
          <a:lstStyle/>
          <a:p>
            <a:fld id="{96324C84-AECB-4AB7-B825-BEB5ED624460}" type="slidenum">
              <a:rPr lang="de-DE" smtClean="0"/>
              <a:t>5</a:t>
            </a:fld>
            <a:endParaRPr lang="de-DE"/>
          </a:p>
        </p:txBody>
      </p:sp>
    </p:spTree>
    <p:extLst>
      <p:ext uri="{BB962C8B-B14F-4D97-AF65-F5344CB8AC3E}">
        <p14:creationId xmlns:p14="http://schemas.microsoft.com/office/powerpoint/2010/main" val="1049308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If we now look again at the average price level for different hours of the day up to August 2024, we can also see here that the midday hours in particular - here at 2 p.m. - are significantly lower than in the evening or night hours and also significantly lower than the average price across all hours. This is particularly difficult for the income from PV systems because the main generation takes place during these hours. But have a more detail look at the interaction between </a:t>
            </a:r>
            <a:r>
              <a:rPr lang="en-US" dirty="0" err="1"/>
              <a:t>negeative</a:t>
            </a:r>
            <a:r>
              <a:rPr lang="en-US" dirty="0"/>
              <a:t> prices and the amount of generation.</a:t>
            </a:r>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6</a:t>
            </a:fld>
            <a:endParaRPr lang="nb-NO"/>
          </a:p>
        </p:txBody>
      </p:sp>
    </p:spTree>
    <p:extLst>
      <p:ext uri="{BB962C8B-B14F-4D97-AF65-F5344CB8AC3E}">
        <p14:creationId xmlns:p14="http://schemas.microsoft.com/office/powerpoint/2010/main" val="6587967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hat we see here is on the left in yellow the generated net </a:t>
            </a:r>
            <a:r>
              <a:rPr lang="en-US" baseline="0" dirty="0" err="1"/>
              <a:t>electrivity</a:t>
            </a:r>
            <a:r>
              <a:rPr lang="en-US" baseline="0" dirty="0"/>
              <a:t> in the different months in 2024 for Germany and in green the distribution of negative hours for the same months in 2024. on the right we see the whole thing for onshore wi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hat we can clearly see is that the distribution of the number of negative hours optically correlates very well with the amount of generation from solar. This can lead to the conclusion that the increased feed-in from solar has led to the negative hours. However, it also illustrates that solar plant operators will most likely often have sold their electricity at negative electricity prices and shows the problem that these operators had no income for a large proportion of their electricity and may even have had to pay extra for this. This naturally leads many market participants to worry that their plants or projects will not generate the desired inco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However, the situation is different for wind, where we see the exact opposite: so the main generation was primarily in the winter months, when there were relatively less hours of low negative hou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So let's take a look at how the profile value of the two technologies has developed in recent months.</a:t>
            </a:r>
            <a:endParaRPr lang="de-DE" baseline="0" dirty="0"/>
          </a:p>
        </p:txBody>
      </p:sp>
      <p:sp>
        <p:nvSpPr>
          <p:cNvPr id="4" name="Foliennummernplatzhalter 3"/>
          <p:cNvSpPr>
            <a:spLocks noGrp="1"/>
          </p:cNvSpPr>
          <p:nvPr>
            <p:ph type="sldNum" sz="quarter" idx="10"/>
          </p:nvPr>
        </p:nvSpPr>
        <p:spPr/>
        <p:txBody>
          <a:bodyPr/>
          <a:lstStyle/>
          <a:p>
            <a:fld id="{96324C84-AECB-4AB7-B825-BEB5ED624460}" type="slidenum">
              <a:rPr lang="de-DE" smtClean="0"/>
              <a:t>7</a:t>
            </a:fld>
            <a:endParaRPr lang="de-DE"/>
          </a:p>
        </p:txBody>
      </p:sp>
    </p:spTree>
    <p:extLst>
      <p:ext uri="{BB962C8B-B14F-4D97-AF65-F5344CB8AC3E}">
        <p14:creationId xmlns:p14="http://schemas.microsoft.com/office/powerpoint/2010/main" val="1272533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e profile value - also shown here as the base parity ratio - is shown here on the left for solar and on the right for win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In this case, the base parity ratio describes the value of the renewable electricity compared to the base price in %. A higher BPR therefore means a higher profile value and a lower BPR means a lower profile valu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For solar, we tend to see a seasonality in the BPRs, which are higher in the winter months and lower in the summer months. However, this year we could see that the BPRs have fallen significantly more in summer than was the case in previous years (i.e. in 2022 and 2023). This makes it clear that the electricity from PV in 2024 was worth significantly less in summer than the base price. However, if we remember the previous slide, we can see that it was precisely in these months that generation was at its highest. So this also shows the problem with the plant operators’ revenues for their electric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With onshore wind, it is difficult to predict a general seasonality in the BPR. However, we can also see here that the profile value is constantly decreas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e increasing supply of electricity from renewable energies therefore leads to the plant operators themselves </a:t>
            </a:r>
            <a:r>
              <a:rPr lang="en-US" baseline="0" dirty="0" err="1"/>
              <a:t>cannibalising</a:t>
            </a:r>
            <a:r>
              <a:rPr lang="en-US" baseline="0" dirty="0"/>
              <a:t> their revenues and leads to an imbalance between supply and demand on the market, which then leads to the many negative prices. In order to counter negative prices, there is a regulation specifically in Germany with § 51 of the EEG, which should lead to less electricity from </a:t>
            </a:r>
            <a:r>
              <a:rPr lang="en-US" baseline="0" dirty="0" err="1"/>
              <a:t>subsidised</a:t>
            </a:r>
            <a:r>
              <a:rPr lang="en-US" baseline="0" dirty="0"/>
              <a:t> renewable energy plants feed in into the market. To this end, a further tightening was introduced at the end of January this year. This regulation naturally has a major impact on the development of the number of renewable hou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However, we don't want to go into this in more detail in this webinar because we want to look at how the balance between supply and demand can be restored with the help of flexibility option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However, I can recommend a blog post by my colleague </a:t>
            </a:r>
            <a:r>
              <a:rPr lang="en-US" baseline="0" dirty="0" err="1"/>
              <a:t>Matthuis</a:t>
            </a:r>
            <a:r>
              <a:rPr lang="en-US" baseline="0" dirty="0"/>
              <a:t> Brinkhaus, who has written an interesting article about this on the Montel blog.</a:t>
            </a:r>
          </a:p>
        </p:txBody>
      </p:sp>
      <p:sp>
        <p:nvSpPr>
          <p:cNvPr id="4" name="Foliennummernplatzhalter 3"/>
          <p:cNvSpPr>
            <a:spLocks noGrp="1"/>
          </p:cNvSpPr>
          <p:nvPr>
            <p:ph type="sldNum" sz="quarter" idx="10"/>
          </p:nvPr>
        </p:nvSpPr>
        <p:spPr/>
        <p:txBody>
          <a:bodyPr/>
          <a:lstStyle/>
          <a:p>
            <a:fld id="{96324C84-AECB-4AB7-B825-BEB5ED624460}" type="slidenum">
              <a:rPr lang="de-DE" smtClean="0"/>
              <a:t>8</a:t>
            </a:fld>
            <a:endParaRPr lang="de-DE"/>
          </a:p>
        </p:txBody>
      </p:sp>
    </p:spTree>
    <p:extLst>
      <p:ext uri="{BB962C8B-B14F-4D97-AF65-F5344CB8AC3E}">
        <p14:creationId xmlns:p14="http://schemas.microsoft.com/office/powerpoint/2010/main" val="7090520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i="0" dirty="0">
                <a:effectLst/>
                <a:latin typeface="-apple-system"/>
              </a:rPr>
              <a:t>The increase in renewable energies for electricity production in the system increases the need for </a:t>
            </a:r>
            <a:r>
              <a:rPr lang="en-US" i="0" dirty="0">
                <a:effectLst/>
                <a:latin typeface="var(--artdeco-reset-typography-font-family-sans)"/>
                <a:hlinkClick r:id="rId3"/>
              </a:rPr>
              <a:t>flexibility options</a:t>
            </a:r>
            <a:r>
              <a:rPr lang="en-US" b="0" i="0" dirty="0">
                <a:effectLst/>
                <a:latin typeface="-apple-system"/>
              </a:rPr>
              <a:t>, both on the generation and also on the demand side.</a:t>
            </a:r>
            <a:br>
              <a:rPr lang="en-US" b="0" i="0" dirty="0">
                <a:effectLst/>
                <a:latin typeface="-apple-system"/>
              </a:rPr>
            </a:br>
            <a:br>
              <a:rPr lang="en-US" b="0" i="0" dirty="0">
                <a:effectLst/>
                <a:latin typeface="-apple-system"/>
              </a:rPr>
            </a:br>
            <a:r>
              <a:rPr lang="en-US" b="0" i="0" dirty="0">
                <a:effectLst/>
                <a:latin typeface="var(--artdeco-reset-typography-font-family-sans)"/>
              </a:rPr>
              <a:t>On of the key flexibility options are </a:t>
            </a:r>
            <a:r>
              <a:rPr lang="en-US" i="0" dirty="0">
                <a:effectLst/>
                <a:latin typeface="var(--artdeco-reset-typography-font-family-sans)"/>
                <a:hlinkClick r:id="rId4"/>
              </a:rPr>
              <a:t>Battery</a:t>
            </a:r>
            <a:r>
              <a:rPr lang="en-US" b="0" i="0" dirty="0">
                <a:effectLst/>
                <a:latin typeface="-apple-system"/>
              </a:rPr>
              <a:t> storage, where I mean both ‘stand-alone’ and ‘co-location’ battery storages.</a:t>
            </a:r>
            <a:br>
              <a:rPr lang="en-US" b="0" i="0" dirty="0">
                <a:effectLst/>
                <a:latin typeface="-apple-system"/>
              </a:rPr>
            </a:br>
            <a:r>
              <a:rPr lang="en-US" i="0" dirty="0">
                <a:effectLst/>
                <a:latin typeface="var(--artdeco-reset-typography-font-family-sans)"/>
                <a:hlinkClick r:id="rId5"/>
              </a:rPr>
              <a:t>Standalone</a:t>
            </a:r>
            <a:r>
              <a:rPr lang="en-US" b="0" i="0" dirty="0">
                <a:effectLst/>
                <a:latin typeface="-apple-system"/>
              </a:rPr>
              <a:t>’ energy storage systems can use the price predictions on the electricity </a:t>
            </a:r>
            <a:r>
              <a:rPr lang="en-US" b="0" i="0" dirty="0" err="1">
                <a:effectLst/>
                <a:latin typeface="-apple-system"/>
              </a:rPr>
              <a:t>marekt</a:t>
            </a:r>
            <a:r>
              <a:rPr lang="en-US" b="0" i="0" dirty="0">
                <a:effectLst/>
                <a:latin typeface="-apple-system"/>
              </a:rPr>
              <a:t> as a business case by storing electricity during hours with negative (or low) prices and withdrawing it during times when prices are ‘high’. In this way, electricity can be stored during times of surplus electricity and added during times of low electricity production or high electricity demand. This </a:t>
            </a:r>
            <a:r>
              <a:rPr lang="en-US" b="0" i="0" dirty="0" err="1">
                <a:effectLst/>
                <a:latin typeface="-apple-system"/>
              </a:rPr>
              <a:t>stabilises</a:t>
            </a:r>
            <a:r>
              <a:rPr lang="en-US" b="0" i="0" dirty="0">
                <a:effectLst/>
                <a:latin typeface="-apple-system"/>
              </a:rPr>
              <a:t> the system in both situations and can counteract extreme prices, especially negative ones.</a:t>
            </a:r>
          </a:p>
          <a:p>
            <a:br>
              <a:rPr lang="en-US" b="0" i="0" dirty="0">
                <a:effectLst/>
                <a:latin typeface="-apple-system"/>
              </a:rPr>
            </a:br>
            <a:r>
              <a:rPr lang="en-US" b="0" i="0" dirty="0">
                <a:effectLst/>
                <a:latin typeface="-apple-system"/>
              </a:rPr>
              <a:t>With </a:t>
            </a:r>
            <a:r>
              <a:rPr lang="en-US" i="0" dirty="0">
                <a:effectLst/>
                <a:latin typeface="var(--artdeco-reset-typography-font-family-sans)"/>
                <a:hlinkClick r:id="rId6"/>
              </a:rPr>
              <a:t>Colocation</a:t>
            </a:r>
            <a:r>
              <a:rPr lang="en-US" b="0" i="0" dirty="0">
                <a:effectLst/>
                <a:latin typeface="-apple-system"/>
              </a:rPr>
              <a:t>’ battery storage, I mean the combination of an RE system and a battery storage system the generation profile of the systems  can “</a:t>
            </a:r>
            <a:r>
              <a:rPr lang="en-US" b="0" i="0" dirty="0" err="1">
                <a:effectLst/>
                <a:latin typeface="-apple-system"/>
              </a:rPr>
              <a:t>flexibilise</a:t>
            </a:r>
            <a:r>
              <a:rPr lang="en-US" b="0" i="0" dirty="0">
                <a:effectLst/>
                <a:latin typeface="-apple-system"/>
              </a:rPr>
              <a:t>” and also improve the profile value. This is especially interesting for Solar. This “Energy shifting” allows electricity to be shifted to hours with a “supply shortage” and can also prevent additional electricity being fed in during hours with a “supply surplus”.</a:t>
            </a:r>
            <a:br>
              <a:rPr lang="en-US" b="0" i="0" dirty="0">
                <a:effectLst/>
                <a:latin typeface="-apple-system"/>
              </a:rPr>
            </a:br>
            <a:endParaRPr lang="en-US" b="0" i="0" dirty="0">
              <a:effectLst/>
              <a:latin typeface="-apple-system"/>
            </a:endParaRPr>
          </a:p>
          <a:p>
            <a:r>
              <a:rPr lang="en-US" b="0" i="0" dirty="0">
                <a:effectLst/>
                <a:latin typeface="-apple-system"/>
              </a:rPr>
              <a:t>Also The electricity grids and dispatchable generation units, such as pumped storage power plants, also represent another flexibility option and help to </a:t>
            </a:r>
            <a:r>
              <a:rPr lang="en-US" b="0" i="0" dirty="0" err="1">
                <a:effectLst/>
                <a:latin typeface="-apple-system"/>
              </a:rPr>
              <a:t>stabilise</a:t>
            </a:r>
            <a:r>
              <a:rPr lang="en-US" b="0" i="0" dirty="0">
                <a:effectLst/>
                <a:latin typeface="-apple-system"/>
              </a:rPr>
              <a:t> the prices. In particular, the well-functioning electricity trading with </a:t>
            </a:r>
            <a:r>
              <a:rPr lang="en-US" b="0" i="0" dirty="0" err="1">
                <a:effectLst/>
                <a:latin typeface="-apple-system"/>
              </a:rPr>
              <a:t>neighbouring</a:t>
            </a:r>
            <a:r>
              <a:rPr lang="en-US" b="0" i="0" dirty="0">
                <a:effectLst/>
                <a:latin typeface="-apple-system"/>
              </a:rPr>
              <a:t> European countries significantly </a:t>
            </a:r>
            <a:r>
              <a:rPr lang="en-US" b="0" i="0" dirty="0" err="1">
                <a:effectLst/>
                <a:latin typeface="-apple-system"/>
              </a:rPr>
              <a:t>stabilises</a:t>
            </a:r>
            <a:r>
              <a:rPr lang="en-US" b="0" i="0" dirty="0">
                <a:effectLst/>
                <a:latin typeface="-apple-system"/>
              </a:rPr>
              <a:t> the price of the electricity. I think this also became clear to everyone on 26 June 2024, when a technical error on the exchange occur and this was the due to the fact that this cross-border trading did not work.</a:t>
            </a:r>
            <a:br>
              <a:rPr lang="en-US" b="0" i="0" dirty="0">
                <a:effectLst/>
                <a:latin typeface="-apple-system"/>
              </a:rPr>
            </a:br>
            <a:endParaRPr lang="en-US" b="0" i="0" dirty="0">
              <a:effectLst/>
              <a:latin typeface="-apple-system"/>
            </a:endParaRPr>
          </a:p>
          <a:p>
            <a:r>
              <a:rPr lang="en-US" b="0" i="0" dirty="0">
                <a:effectLst/>
                <a:latin typeface="-apple-system"/>
              </a:rPr>
              <a:t>Another important flexibility option is the flexible electricity demand, which includes </a:t>
            </a:r>
            <a:r>
              <a:rPr lang="en-US" i="0" dirty="0" err="1">
                <a:effectLst/>
                <a:latin typeface="var(--artdeco-reset-typography-font-family-sans)"/>
                <a:hlinkClick r:id="rId7"/>
              </a:rPr>
              <a:t>electrolysers</a:t>
            </a:r>
            <a:r>
              <a:rPr lang="en-US" b="0" i="0" dirty="0">
                <a:effectLst/>
                <a:latin typeface="-apple-system"/>
              </a:rPr>
              <a:t>, </a:t>
            </a:r>
            <a:r>
              <a:rPr lang="en-US" i="0" dirty="0" err="1">
                <a:effectLst/>
                <a:latin typeface="var(--artdeco-reset-typography-font-family-sans)"/>
                <a:hlinkClick r:id="rId8"/>
              </a:rPr>
              <a:t>heatpumps</a:t>
            </a:r>
            <a:r>
              <a:rPr lang="en-US" b="0" i="0" dirty="0">
                <a:effectLst/>
                <a:latin typeface="-apple-system"/>
              </a:rPr>
              <a:t> and </a:t>
            </a:r>
            <a:r>
              <a:rPr lang="en-US" i="0" dirty="0" err="1">
                <a:effectLst/>
                <a:latin typeface="var(--artdeco-reset-typography-font-family-sans)"/>
                <a:hlinkClick r:id="rId9"/>
              </a:rPr>
              <a:t>emobility</a:t>
            </a:r>
            <a:r>
              <a:rPr lang="en-US" b="0" i="0" dirty="0">
                <a:effectLst/>
                <a:latin typeface="-apple-system"/>
              </a:rPr>
              <a:t>. These electricity consumers can therefore be used as ‘artificial electricity consumers’ during certain hours, e.g. to consume at times with a high level of generation from renewable energies the electricity (and thus prevent ‘negative’ extreme prices). In contrast to battery storage, however, only the demand is </a:t>
            </a:r>
            <a:r>
              <a:rPr lang="en-US" b="0" i="0" dirty="0" err="1">
                <a:effectLst/>
                <a:latin typeface="-apple-system"/>
              </a:rPr>
              <a:t>flexibilised</a:t>
            </a:r>
            <a:r>
              <a:rPr lang="en-US" b="0" i="0" dirty="0">
                <a:effectLst/>
                <a:latin typeface="-apple-system"/>
              </a:rPr>
              <a:t> here and not the supply.</a:t>
            </a:r>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9</a:t>
            </a:fld>
            <a:endParaRPr lang="nb-NO"/>
          </a:p>
        </p:txBody>
      </p:sp>
    </p:spTree>
    <p:extLst>
      <p:ext uri="{BB962C8B-B14F-4D97-AF65-F5344CB8AC3E}">
        <p14:creationId xmlns:p14="http://schemas.microsoft.com/office/powerpoint/2010/main" val="5189117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3.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13.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 Id="rId5" Type="http://schemas.openxmlformats.org/officeDocument/2006/relationships/image" Target="../media/image17.emf"/><Relationship Id="rId4" Type="http://schemas.openxmlformats.org/officeDocument/2006/relationships/image" Target="../media/image16.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7.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7.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8.xml"/><Relationship Id="rId5" Type="http://schemas.openxmlformats.org/officeDocument/2006/relationships/image" Target="../media/image29.emf"/><Relationship Id="rId4" Type="http://schemas.openxmlformats.org/officeDocument/2006/relationships/image" Target="../media/image28.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9.emf"/><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9.xml"/><Relationship Id="rId5" Type="http://schemas.openxmlformats.org/officeDocument/2006/relationships/image" Target="../media/image33.emf"/><Relationship Id="rId4" Type="http://schemas.openxmlformats.org/officeDocument/2006/relationships/image" Target="../media/image32.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emf"/><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0.xml"/><Relationship Id="rId5" Type="http://schemas.openxmlformats.org/officeDocument/2006/relationships/image" Target="../media/image37.emf"/><Relationship Id="rId4" Type="http://schemas.openxmlformats.org/officeDocument/2006/relationships/image" Target="../media/image36.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7.emf"/><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1.xml"/><Relationship Id="rId5" Type="http://schemas.openxmlformats.org/officeDocument/2006/relationships/image" Target="../media/image41.emf"/><Relationship Id="rId4" Type="http://schemas.openxmlformats.org/officeDocument/2006/relationships/image" Target="../media/image40.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image" Target="../media/image40.emf"/><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2.xml"/><Relationship Id="rId5" Type="http://schemas.openxmlformats.org/officeDocument/2006/relationships/image" Target="../media/image43.emf"/><Relationship Id="rId4" Type="http://schemas.openxmlformats.org/officeDocument/2006/relationships/image" Target="../media/image42.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emf"/><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3.xml"/><Relationship Id="rId5" Type="http://schemas.openxmlformats.org/officeDocument/2006/relationships/image" Target="../media/image45.emf"/><Relationship Id="rId4" Type="http://schemas.openxmlformats.org/officeDocument/2006/relationships/image" Target="../media/image44.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5.emf"/><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bbles with title">
    <p:spTree>
      <p:nvGrpSpPr>
        <p:cNvPr id="1" name=""/>
        <p:cNvGrpSpPr/>
        <p:nvPr/>
      </p:nvGrpSpPr>
      <p:grpSpPr>
        <a:xfrm>
          <a:off x="0" y="0"/>
          <a:ext cx="0" cy="0"/>
          <a:chOff x="0" y="0"/>
          <a:chExt cx="0" cy="0"/>
        </a:xfrm>
      </p:grpSpPr>
      <p:pic>
        <p:nvPicPr>
          <p:cNvPr id="12" name="Picture 4" descr="Logo, company name&#10;&#10;Description automatically generated">
            <a:extLst>
              <a:ext uri="{FF2B5EF4-FFF2-40B4-BE49-F238E27FC236}">
                <a16:creationId xmlns:a16="http://schemas.microsoft.com/office/drawing/2014/main" id="{48E419A9-5AAA-F780-D314-227194908B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66528" y="221803"/>
            <a:ext cx="1838245" cy="698851"/>
          </a:xfrm>
          <a:prstGeom prst="rect">
            <a:avLst/>
          </a:prstGeom>
        </p:spPr>
      </p:pic>
      <p:sp>
        <p:nvSpPr>
          <p:cNvPr id="13" name="Ellipse 12">
            <a:extLst>
              <a:ext uri="{FF2B5EF4-FFF2-40B4-BE49-F238E27FC236}">
                <a16:creationId xmlns:a16="http://schemas.microsoft.com/office/drawing/2014/main" id="{C05C9E9E-AE9A-CCCB-A1EE-56BE84147A16}"/>
              </a:ext>
            </a:extLst>
          </p:cNvPr>
          <p:cNvSpPr/>
          <p:nvPr userDrawn="1"/>
        </p:nvSpPr>
        <p:spPr>
          <a:xfrm>
            <a:off x="10213629" y="4225941"/>
            <a:ext cx="1410946" cy="14109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Ellipse 13">
            <a:extLst>
              <a:ext uri="{FF2B5EF4-FFF2-40B4-BE49-F238E27FC236}">
                <a16:creationId xmlns:a16="http://schemas.microsoft.com/office/drawing/2014/main" id="{1F1E27E4-836A-4EBC-AC0E-5EC16DA0506E}"/>
              </a:ext>
            </a:extLst>
          </p:cNvPr>
          <p:cNvSpPr/>
          <p:nvPr userDrawn="1"/>
        </p:nvSpPr>
        <p:spPr>
          <a:xfrm>
            <a:off x="10992856" y="6120469"/>
            <a:ext cx="2627495" cy="26274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0F3EE9D2-9B08-77D1-9FED-64E69102BA16}"/>
              </a:ext>
            </a:extLst>
          </p:cNvPr>
          <p:cNvSpPr/>
          <p:nvPr userDrawn="1"/>
        </p:nvSpPr>
        <p:spPr>
          <a:xfrm>
            <a:off x="9581953" y="5785985"/>
            <a:ext cx="1075494" cy="10754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16" name="Ellipse 15">
            <a:extLst>
              <a:ext uri="{FF2B5EF4-FFF2-40B4-BE49-F238E27FC236}">
                <a16:creationId xmlns:a16="http://schemas.microsoft.com/office/drawing/2014/main" id="{F6C5BF69-168D-0545-C7C3-439FCC048044}"/>
              </a:ext>
            </a:extLst>
          </p:cNvPr>
          <p:cNvSpPr/>
          <p:nvPr userDrawn="1"/>
        </p:nvSpPr>
        <p:spPr>
          <a:xfrm>
            <a:off x="9139384" y="4598314"/>
            <a:ext cx="589353" cy="589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61E02421-0CE6-876D-253B-4ACBCE360236}"/>
              </a:ext>
            </a:extLst>
          </p:cNvPr>
          <p:cNvSpPr/>
          <p:nvPr userDrawn="1"/>
        </p:nvSpPr>
        <p:spPr>
          <a:xfrm>
            <a:off x="12040974" y="4841325"/>
            <a:ext cx="926887" cy="926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Ellipse 17">
            <a:extLst>
              <a:ext uri="{FF2B5EF4-FFF2-40B4-BE49-F238E27FC236}">
                <a16:creationId xmlns:a16="http://schemas.microsoft.com/office/drawing/2014/main" id="{1B54E97E-8B6C-A261-DA6C-646A4DA92150}"/>
              </a:ext>
            </a:extLst>
          </p:cNvPr>
          <p:cNvSpPr/>
          <p:nvPr userDrawn="1"/>
        </p:nvSpPr>
        <p:spPr>
          <a:xfrm>
            <a:off x="11386899" y="3221066"/>
            <a:ext cx="897633" cy="8976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Ellipse 18">
            <a:extLst>
              <a:ext uri="{FF2B5EF4-FFF2-40B4-BE49-F238E27FC236}">
                <a16:creationId xmlns:a16="http://schemas.microsoft.com/office/drawing/2014/main" id="{FD870BD0-3DC4-CE3D-1A15-F2C7489E7E2F}"/>
              </a:ext>
            </a:extLst>
          </p:cNvPr>
          <p:cNvSpPr/>
          <p:nvPr userDrawn="1"/>
        </p:nvSpPr>
        <p:spPr>
          <a:xfrm>
            <a:off x="10101492" y="3581708"/>
            <a:ext cx="326231" cy="32618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Ellipse 19">
            <a:extLst>
              <a:ext uri="{FF2B5EF4-FFF2-40B4-BE49-F238E27FC236}">
                <a16:creationId xmlns:a16="http://schemas.microsoft.com/office/drawing/2014/main" id="{5E144B33-9B63-A459-2EAD-A7449C2C3BA5}"/>
              </a:ext>
            </a:extLst>
          </p:cNvPr>
          <p:cNvSpPr/>
          <p:nvPr userDrawn="1"/>
        </p:nvSpPr>
        <p:spPr>
          <a:xfrm>
            <a:off x="824618" y="1344421"/>
            <a:ext cx="589353" cy="589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912E01E-C4CD-DBF6-58A9-26CA3BA46B63}"/>
              </a:ext>
            </a:extLst>
          </p:cNvPr>
          <p:cNvSpPr/>
          <p:nvPr userDrawn="1"/>
        </p:nvSpPr>
        <p:spPr>
          <a:xfrm>
            <a:off x="-1082877" y="-1291957"/>
            <a:ext cx="2627495" cy="26274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9B63C64-586C-0FD9-D574-30AAF00B63BA}"/>
              </a:ext>
            </a:extLst>
          </p:cNvPr>
          <p:cNvSpPr/>
          <p:nvPr userDrawn="1"/>
        </p:nvSpPr>
        <p:spPr>
          <a:xfrm>
            <a:off x="774206" y="2229942"/>
            <a:ext cx="1075494" cy="10754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23" name="Ellipse 22">
            <a:extLst>
              <a:ext uri="{FF2B5EF4-FFF2-40B4-BE49-F238E27FC236}">
                <a16:creationId xmlns:a16="http://schemas.microsoft.com/office/drawing/2014/main" id="{3211A6E5-F2FE-99D1-C27E-2264E9EFE097}"/>
              </a:ext>
            </a:extLst>
          </p:cNvPr>
          <p:cNvSpPr/>
          <p:nvPr userDrawn="1"/>
        </p:nvSpPr>
        <p:spPr>
          <a:xfrm>
            <a:off x="1849700" y="-304979"/>
            <a:ext cx="926887" cy="926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7157149-4933-83A2-33F2-81A338C098C0}"/>
              </a:ext>
            </a:extLst>
          </p:cNvPr>
          <p:cNvSpPr/>
          <p:nvPr userDrawn="1"/>
        </p:nvSpPr>
        <p:spPr>
          <a:xfrm>
            <a:off x="1931262" y="907256"/>
            <a:ext cx="1463817" cy="146359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47C69F67-66EE-1721-E30E-E97F8B9B9B48}"/>
              </a:ext>
            </a:extLst>
          </p:cNvPr>
          <p:cNvSpPr/>
          <p:nvPr userDrawn="1"/>
        </p:nvSpPr>
        <p:spPr>
          <a:xfrm>
            <a:off x="-690862" y="1761272"/>
            <a:ext cx="897633" cy="8976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653D88D-D623-6FF9-6313-E3B99BFEB004}"/>
              </a:ext>
            </a:extLst>
          </p:cNvPr>
          <p:cNvSpPr/>
          <p:nvPr userDrawn="1"/>
        </p:nvSpPr>
        <p:spPr>
          <a:xfrm>
            <a:off x="2263805" y="2609839"/>
            <a:ext cx="326231" cy="3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ktangel 27">
            <a:extLst>
              <a:ext uri="{FF2B5EF4-FFF2-40B4-BE49-F238E27FC236}">
                <a16:creationId xmlns:a16="http://schemas.microsoft.com/office/drawing/2014/main" id="{03D8B6CF-6E4C-4F63-305B-334B1C74F108}"/>
              </a:ext>
            </a:extLst>
          </p:cNvPr>
          <p:cNvSpPr/>
          <p:nvPr userDrawn="1"/>
        </p:nvSpPr>
        <p:spPr>
          <a:xfrm>
            <a:off x="-588397" y="-1619368"/>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ktangel 28">
            <a:extLst>
              <a:ext uri="{FF2B5EF4-FFF2-40B4-BE49-F238E27FC236}">
                <a16:creationId xmlns:a16="http://schemas.microsoft.com/office/drawing/2014/main" id="{1192EEC7-0994-4293-0496-EF47B9E1F486}"/>
              </a:ext>
            </a:extLst>
          </p:cNvPr>
          <p:cNvSpPr/>
          <p:nvPr userDrawn="1"/>
        </p:nvSpPr>
        <p:spPr>
          <a:xfrm>
            <a:off x="-2349165" y="-1224501"/>
            <a:ext cx="2282024" cy="48943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ktangel 31">
            <a:extLst>
              <a:ext uri="{FF2B5EF4-FFF2-40B4-BE49-F238E27FC236}">
                <a16:creationId xmlns:a16="http://schemas.microsoft.com/office/drawing/2014/main" id="{DBC54FCC-12A3-2871-B107-1742B82DD7B5}"/>
              </a:ext>
            </a:extLst>
          </p:cNvPr>
          <p:cNvSpPr/>
          <p:nvPr userDrawn="1"/>
        </p:nvSpPr>
        <p:spPr>
          <a:xfrm>
            <a:off x="12189069" y="1367625"/>
            <a:ext cx="2282024" cy="70130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ktangel 32">
            <a:extLst>
              <a:ext uri="{FF2B5EF4-FFF2-40B4-BE49-F238E27FC236}">
                <a16:creationId xmlns:a16="http://schemas.microsoft.com/office/drawing/2014/main" id="{9C59FE9E-D0BB-2DBA-7263-705C27017F52}"/>
              </a:ext>
            </a:extLst>
          </p:cNvPr>
          <p:cNvSpPr/>
          <p:nvPr userDrawn="1"/>
        </p:nvSpPr>
        <p:spPr>
          <a:xfrm>
            <a:off x="-341907" y="6855730"/>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Plassholder for tekst 19">
            <a:extLst>
              <a:ext uri="{FF2B5EF4-FFF2-40B4-BE49-F238E27FC236}">
                <a16:creationId xmlns:a16="http://schemas.microsoft.com/office/drawing/2014/main" id="{016FBA27-B542-CAFA-3416-955CEFF65544}"/>
              </a:ext>
            </a:extLst>
          </p:cNvPr>
          <p:cNvSpPr>
            <a:spLocks noGrp="1"/>
          </p:cNvSpPr>
          <p:nvPr>
            <p:ph type="body" sz="quarter" idx="10"/>
          </p:nvPr>
        </p:nvSpPr>
        <p:spPr>
          <a:xfrm>
            <a:off x="902564" y="4321572"/>
            <a:ext cx="8471189" cy="1700081"/>
          </a:xfrm>
          <a:prstGeom prst="rect">
            <a:avLst/>
          </a:prstGeom>
        </p:spPr>
        <p:txBody>
          <a:bodyPr anchor="b"/>
          <a:lstStyle>
            <a:lvl1pPr marL="0" indent="0">
              <a:buNone/>
              <a:defRPr sz="5000">
                <a:solidFill>
                  <a:schemeClr val="tx1"/>
                </a:solidFill>
                <a:latin typeface="Haffer" pitchFamily="2" charset="77"/>
                <a:cs typeface="Haffer" pitchFamily="2" charset="77"/>
              </a:defRPr>
            </a:lvl1pPr>
          </a:lstStyle>
          <a:p>
            <a:pPr lvl="0"/>
            <a:r>
              <a:rPr lang="de-DE"/>
              <a:t>Mastertextformat bearbeiten</a:t>
            </a:r>
          </a:p>
          <a:p>
            <a:pPr lvl="1"/>
            <a:r>
              <a:rPr lang="de-DE"/>
              <a:t>Zweite Ebene</a:t>
            </a:r>
          </a:p>
        </p:txBody>
      </p:sp>
      <p:sp>
        <p:nvSpPr>
          <p:cNvPr id="2" name="Datumsplatzhalter 13">
            <a:extLst>
              <a:ext uri="{FF2B5EF4-FFF2-40B4-BE49-F238E27FC236}">
                <a16:creationId xmlns:a16="http://schemas.microsoft.com/office/drawing/2014/main" id="{927C203C-9AC4-3A11-179E-D21C04AE449C}"/>
              </a:ext>
            </a:extLst>
          </p:cNvPr>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3" name="Fußzeilenplatzhalter 14">
            <a:extLst>
              <a:ext uri="{FF2B5EF4-FFF2-40B4-BE49-F238E27FC236}">
                <a16:creationId xmlns:a16="http://schemas.microsoft.com/office/drawing/2014/main" id="{E4C10119-2CBB-112B-2AC4-DFD6183AEAB4}"/>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4" name="Foliennummernplatzhalter 15">
            <a:extLst>
              <a:ext uri="{FF2B5EF4-FFF2-40B4-BE49-F238E27FC236}">
                <a16:creationId xmlns:a16="http://schemas.microsoft.com/office/drawing/2014/main" id="{179CFBC6-FE77-A8FC-410B-DB945D2D37F9}"/>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1410592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8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800"/>
                                        <p:tgtEl>
                                          <p:spTgt spid="26"/>
                                        </p:tgtEl>
                                      </p:cBhvr>
                                    </p:animEffect>
                                  </p:childTnLst>
                                </p:cTn>
                              </p:par>
                              <p:par>
                                <p:cTn id="11" presetID="10" presetClass="entr" presetSubtype="0" fill="hold" grpId="0" nodeType="withEffect">
                                  <p:stCondLst>
                                    <p:cond delay="8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800"/>
                                        <p:tgtEl>
                                          <p:spTgt spid="22"/>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800"/>
                                        <p:tgtEl>
                                          <p:spTgt spid="25"/>
                                        </p:tgtEl>
                                      </p:cBhvr>
                                    </p:animEffect>
                                  </p:childTnLst>
                                </p:cTn>
                              </p:par>
                              <p:par>
                                <p:cTn id="17" presetID="10" presetClass="entr" presetSubtype="0" fill="hold" grpId="0" nodeType="withEffect">
                                  <p:stCondLst>
                                    <p:cond delay="8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800"/>
                                        <p:tgtEl>
                                          <p:spTgt spid="20"/>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800"/>
                                        <p:tgtEl>
                                          <p:spTgt spid="21"/>
                                        </p:tgtEl>
                                      </p:cBhvr>
                                    </p:animEffect>
                                  </p:childTnLst>
                                </p:cTn>
                              </p:par>
                              <p:par>
                                <p:cTn id="23" presetID="10" presetClass="entr" presetSubtype="0" fill="hold" grpId="0" nodeType="withEffect">
                                  <p:stCondLst>
                                    <p:cond delay="120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800"/>
                                        <p:tgtEl>
                                          <p:spTgt spid="23"/>
                                        </p:tgtEl>
                                      </p:cBhvr>
                                    </p:animEffect>
                                  </p:childTnLst>
                                </p:cTn>
                              </p:par>
                              <p:par>
                                <p:cTn id="26" presetID="10" presetClass="entr" presetSubtype="0" fill="hold" grpId="0" nodeType="withEffect">
                                  <p:stCondLst>
                                    <p:cond delay="80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800"/>
                                        <p:tgtEl>
                                          <p:spTgt spid="16"/>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800"/>
                                        <p:tgtEl>
                                          <p:spTgt spid="19"/>
                                        </p:tgtEl>
                                      </p:cBhvr>
                                    </p:animEffect>
                                  </p:childTnLst>
                                </p:cTn>
                              </p:par>
                              <p:par>
                                <p:cTn id="32" presetID="10" presetClass="entr" presetSubtype="0" fill="hold" grpId="0" nodeType="withEffect">
                                  <p:stCondLst>
                                    <p:cond delay="30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800"/>
                                        <p:tgtEl>
                                          <p:spTgt spid="13"/>
                                        </p:tgtEl>
                                      </p:cBhvr>
                                    </p:animEffect>
                                  </p:childTnLst>
                                </p:cTn>
                              </p:par>
                              <p:par>
                                <p:cTn id="35" presetID="10" presetClass="entr" presetSubtype="0" fill="hold" grpId="0" nodeType="withEffect">
                                  <p:stCondLst>
                                    <p:cond delay="7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800"/>
                                        <p:tgtEl>
                                          <p:spTgt spid="18"/>
                                        </p:tgtEl>
                                      </p:cBhvr>
                                    </p:animEffect>
                                  </p:childTnLst>
                                </p:cTn>
                              </p:par>
                              <p:par>
                                <p:cTn id="38" presetID="10" presetClass="entr" presetSubtype="0" fill="hold" grpId="0" nodeType="withEffect">
                                  <p:stCondLst>
                                    <p:cond delay="20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8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800"/>
                                        <p:tgtEl>
                                          <p:spTgt spid="14"/>
                                        </p:tgtEl>
                                      </p:cBhvr>
                                    </p:animEffect>
                                  </p:childTnLst>
                                </p:cTn>
                              </p:par>
                              <p:par>
                                <p:cTn id="44" presetID="10" presetClass="entr" presetSubtype="0" fill="hold" grpId="0" nodeType="withEffect">
                                  <p:stCondLst>
                                    <p:cond delay="90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8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 Bullets/Bodytext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cstate="hqprint">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10458641"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r>
              <a:rPr lang="de-DE"/>
              <a:t>Bild durch Klicken auf Symbol hinzufügen</a:t>
            </a:r>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r>
              <a:rPr lang="de-DE"/>
              <a:t>Bild durch Klicken auf Symbol hinzufügen</a:t>
            </a:r>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r>
              <a:rPr lang="de-DE"/>
              <a:t>Bild durch Klicken auf Symbol hinzufügen</a:t>
            </a:r>
            <a:endParaRPr lang="nb-NO"/>
          </a:p>
        </p:txBody>
      </p:sp>
      <p:sp>
        <p:nvSpPr>
          <p:cNvPr id="8" name="Datumsplatzhalter 13">
            <a:extLst>
              <a:ext uri="{FF2B5EF4-FFF2-40B4-BE49-F238E27FC236}">
                <a16:creationId xmlns:a16="http://schemas.microsoft.com/office/drawing/2014/main" id="{6C0F9184-A9A8-A94D-EC45-79E7EC4F568D}"/>
              </a:ext>
            </a:extLst>
          </p:cNvPr>
          <p:cNvSpPr>
            <a:spLocks noGrp="1"/>
          </p:cNvSpPr>
          <p:nvPr>
            <p:ph type="dt" sz="half" idx="20"/>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10" name="Fußzeilenplatzhalter 14">
            <a:extLst>
              <a:ext uri="{FF2B5EF4-FFF2-40B4-BE49-F238E27FC236}">
                <a16:creationId xmlns:a16="http://schemas.microsoft.com/office/drawing/2014/main" id="{81A7DB4E-44F5-2894-7EFF-0E27545D0A56}"/>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11" name="Foliennummernplatzhalter 15">
            <a:extLst>
              <a:ext uri="{FF2B5EF4-FFF2-40B4-BE49-F238E27FC236}">
                <a16:creationId xmlns:a16="http://schemas.microsoft.com/office/drawing/2014/main" id="{BBCCC06D-A379-B577-F7B2-BB569B4166D8}"/>
              </a:ext>
            </a:extLst>
          </p:cNvPr>
          <p:cNvSpPr>
            <a:spLocks noGrp="1"/>
          </p:cNvSpPr>
          <p:nvPr>
            <p:ph type="sldNum" sz="quarter" idx="26"/>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7609684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ull width image with title bottom">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5836024"/>
          </a:xfrm>
          <a:prstGeom prst="rect">
            <a:avLst/>
          </a:prstGeom>
        </p:spPr>
        <p:txBody>
          <a:bodyPr/>
          <a:lstStyle/>
          <a:p>
            <a:r>
              <a:rPr lang="de-DE"/>
              <a:t>Bild durch Klicken auf Symbol hinzufügen</a:t>
            </a:r>
            <a:endParaRPr lang="nb-NO"/>
          </a:p>
        </p:txBody>
      </p:sp>
      <p:sp>
        <p:nvSpPr>
          <p:cNvPr id="10" name="Plassholder for tekst 19">
            <a:extLst>
              <a:ext uri="{FF2B5EF4-FFF2-40B4-BE49-F238E27FC236}">
                <a16:creationId xmlns:a16="http://schemas.microsoft.com/office/drawing/2014/main" id="{A5F22576-6EE2-6F1D-BCEB-76166C1B4C77}"/>
              </a:ext>
            </a:extLst>
          </p:cNvPr>
          <p:cNvSpPr>
            <a:spLocks noGrp="1"/>
          </p:cNvSpPr>
          <p:nvPr>
            <p:ph type="body" sz="quarter" idx="11" hasCustomPrompt="1"/>
          </p:nvPr>
        </p:nvSpPr>
        <p:spPr>
          <a:xfrm>
            <a:off x="499110" y="6045761"/>
            <a:ext cx="11132596" cy="602925"/>
          </a:xfrm>
          <a:prstGeom prst="rect">
            <a:avLst/>
          </a:prstGeom>
        </p:spPr>
        <p:txBody>
          <a:bodyPr anchor="b"/>
          <a:lstStyle>
            <a:lvl1pPr marL="0" indent="0">
              <a:lnSpc>
                <a:spcPts val="3800"/>
              </a:lnSpc>
              <a:buNone/>
              <a:defRPr sz="3000">
                <a:solidFill>
                  <a:srgbClr val="022E33"/>
                </a:solidFill>
                <a:latin typeface="Haffer" pitchFamily="2" charset="77"/>
                <a:cs typeface="Haffer" pitchFamily="2" charset="77"/>
              </a:defRPr>
            </a:lvl1pPr>
          </a:lstStyle>
          <a:p>
            <a:pPr lvl="0"/>
            <a:r>
              <a:rPr lang="nb-NO" err="1"/>
              <a:t>Title</a:t>
            </a:r>
            <a:endParaRPr lang="nb-NO"/>
          </a:p>
        </p:txBody>
      </p:sp>
    </p:spTree>
    <p:extLst>
      <p:ext uri="{BB962C8B-B14F-4D97-AF65-F5344CB8AC3E}">
        <p14:creationId xmlns:p14="http://schemas.microsoft.com/office/powerpoint/2010/main" val="224884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Bubbles with title">
  <p:cSld name="1_Bubbles with title">
    <p:spTree>
      <p:nvGrpSpPr>
        <p:cNvPr id="1" name="Shape 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A6A3577-EC50-C5A7-3EE1-039DEC83DC4E}"/>
              </a:ext>
            </a:extLst>
          </p:cNvPr>
          <p:cNvGraphicFramePr>
            <a:graphicFrameLocks noChangeAspect="1"/>
          </p:cNvGraphicFramePr>
          <p:nvPr userDrawn="1">
            <p:custDataLst>
              <p:tags r:id="rId1"/>
            </p:custDataLst>
            <p:extLst>
              <p:ext uri="{D42A27DB-BD31-4B8C-83A1-F6EECF244321}">
                <p14:modId xmlns:p14="http://schemas.microsoft.com/office/powerpoint/2010/main" val="1823264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8A6A3577-EC50-C5A7-3EE1-039DEC83D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oogle Shape;11;p11" descr="Logo, company name&#10;&#10;Description automatically generated"/>
          <p:cNvPicPr preferRelativeResize="0"/>
          <p:nvPr/>
        </p:nvPicPr>
        <p:blipFill rotWithShape="1">
          <a:blip r:embed="rId5">
            <a:alphaModFix/>
          </a:blip>
          <a:srcRect/>
          <a:stretch/>
        </p:blipFill>
        <p:spPr>
          <a:xfrm>
            <a:off x="10166528" y="221803"/>
            <a:ext cx="1838245" cy="698851"/>
          </a:xfrm>
          <a:prstGeom prst="rect">
            <a:avLst/>
          </a:prstGeom>
          <a:noFill/>
          <a:ln>
            <a:noFill/>
          </a:ln>
        </p:spPr>
      </p:pic>
      <p:sp>
        <p:nvSpPr>
          <p:cNvPr id="12" name="Google Shape;12;p11"/>
          <p:cNvSpPr/>
          <p:nvPr/>
        </p:nvSpPr>
        <p:spPr>
          <a:xfrm>
            <a:off x="10213629" y="4225941"/>
            <a:ext cx="1410946" cy="1410946"/>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3" name="Google Shape;13;p11"/>
          <p:cNvSpPr/>
          <p:nvPr/>
        </p:nvSpPr>
        <p:spPr>
          <a:xfrm>
            <a:off x="10992856" y="6120469"/>
            <a:ext cx="2627495" cy="2627495"/>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4" name="Google Shape;14;p11"/>
          <p:cNvSpPr/>
          <p:nvPr/>
        </p:nvSpPr>
        <p:spPr>
          <a:xfrm>
            <a:off x="9581953" y="5785985"/>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15" name="Google Shape;15;p11"/>
          <p:cNvSpPr/>
          <p:nvPr/>
        </p:nvSpPr>
        <p:spPr>
          <a:xfrm>
            <a:off x="9139384" y="4598314"/>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6" name="Google Shape;16;p11"/>
          <p:cNvSpPr/>
          <p:nvPr/>
        </p:nvSpPr>
        <p:spPr>
          <a:xfrm>
            <a:off x="12040974" y="4841325"/>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7" name="Google Shape;17;p11"/>
          <p:cNvSpPr/>
          <p:nvPr/>
        </p:nvSpPr>
        <p:spPr>
          <a:xfrm>
            <a:off x="11386899" y="3221066"/>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8" name="Google Shape;18;p11"/>
          <p:cNvSpPr/>
          <p:nvPr/>
        </p:nvSpPr>
        <p:spPr>
          <a:xfrm>
            <a:off x="10101492" y="3581708"/>
            <a:ext cx="326231" cy="32618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9" name="Google Shape;19;p11"/>
          <p:cNvSpPr/>
          <p:nvPr/>
        </p:nvSpPr>
        <p:spPr>
          <a:xfrm>
            <a:off x="824618" y="1344421"/>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0" name="Google Shape;20;p11"/>
          <p:cNvSpPr/>
          <p:nvPr/>
        </p:nvSpPr>
        <p:spPr>
          <a:xfrm>
            <a:off x="-1082877" y="-1291957"/>
            <a:ext cx="2627495" cy="2627495"/>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1" name="Google Shape;21;p11"/>
          <p:cNvSpPr/>
          <p:nvPr/>
        </p:nvSpPr>
        <p:spPr>
          <a:xfrm>
            <a:off x="774206" y="2229942"/>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22" name="Google Shape;22;p11"/>
          <p:cNvSpPr/>
          <p:nvPr/>
        </p:nvSpPr>
        <p:spPr>
          <a:xfrm>
            <a:off x="1849700" y="-304979"/>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3" name="Google Shape;23;p11"/>
          <p:cNvSpPr/>
          <p:nvPr/>
        </p:nvSpPr>
        <p:spPr>
          <a:xfrm>
            <a:off x="1931262" y="907256"/>
            <a:ext cx="1463817" cy="146359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4" name="Google Shape;24;p11"/>
          <p:cNvSpPr/>
          <p:nvPr/>
        </p:nvSpPr>
        <p:spPr>
          <a:xfrm>
            <a:off x="-690862" y="1761272"/>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5" name="Google Shape;25;p11"/>
          <p:cNvSpPr/>
          <p:nvPr/>
        </p:nvSpPr>
        <p:spPr>
          <a:xfrm>
            <a:off x="2263805" y="2609839"/>
            <a:ext cx="326231" cy="326181"/>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6" name="Google Shape;26;p11"/>
          <p:cNvSpPr/>
          <p:nvPr/>
        </p:nvSpPr>
        <p:spPr>
          <a:xfrm>
            <a:off x="-573649" y="-1619368"/>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7" name="Google Shape;27;p11"/>
          <p:cNvSpPr/>
          <p:nvPr/>
        </p:nvSpPr>
        <p:spPr>
          <a:xfrm>
            <a:off x="-2297547" y="-1224501"/>
            <a:ext cx="2282024" cy="4894383"/>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8" name="Google Shape;28;p11"/>
          <p:cNvSpPr/>
          <p:nvPr/>
        </p:nvSpPr>
        <p:spPr>
          <a:xfrm>
            <a:off x="12203817" y="1367625"/>
            <a:ext cx="2282024" cy="7013050"/>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9" name="Google Shape;29;p11"/>
          <p:cNvSpPr/>
          <p:nvPr/>
        </p:nvSpPr>
        <p:spPr>
          <a:xfrm>
            <a:off x="-327159" y="6855730"/>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30" name="Google Shape;30;p11"/>
          <p:cNvSpPr txBox="1">
            <a:spLocks noGrp="1"/>
          </p:cNvSpPr>
          <p:nvPr>
            <p:ph type="body" idx="1"/>
          </p:nvPr>
        </p:nvSpPr>
        <p:spPr>
          <a:xfrm>
            <a:off x="902564" y="4321572"/>
            <a:ext cx="8471189" cy="1700081"/>
          </a:xfrm>
          <a:prstGeom prst="rect">
            <a:avLst/>
          </a:prstGeom>
          <a:noFill/>
          <a:ln>
            <a:noFill/>
          </a:ln>
        </p:spPr>
        <p:txBody>
          <a:bodyPr spcFirstLastPara="1" wrap="square" lIns="91425" tIns="45700" rIns="91425" bIns="45700" anchor="b" anchorCtr="0">
            <a:noAutofit/>
          </a:bodyPr>
          <a:lstStyle>
            <a:lvl1pPr marL="457200" marR="0" lvl="0" indent="-228600" algn="l" rtl="0">
              <a:lnSpc>
                <a:spcPct val="90000"/>
              </a:lnSpc>
              <a:spcBef>
                <a:spcPts val="1000"/>
              </a:spcBef>
              <a:spcAft>
                <a:spcPts val="0"/>
              </a:spcAft>
              <a:buClr>
                <a:schemeClr val="dk1"/>
              </a:buClr>
              <a:buSzPts val="5000"/>
              <a:buFont typeface="Arial"/>
              <a:buNone/>
              <a:defRPr sz="50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lvl="0"/>
            <a:r>
              <a:rPr lang="de-DE"/>
              <a:t>Mastertextformat bearbeiten</a:t>
            </a:r>
          </a:p>
        </p:txBody>
      </p:sp>
    </p:spTree>
    <p:extLst>
      <p:ext uri="{BB962C8B-B14F-4D97-AF65-F5344CB8AC3E}">
        <p14:creationId xmlns:p14="http://schemas.microsoft.com/office/powerpoint/2010/main" val="1050917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8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800"/>
                                        <p:tgtEl>
                                          <p:spTgt spid="25"/>
                                        </p:tgtEl>
                                      </p:cBhvr>
                                    </p:animEffect>
                                  </p:childTnLst>
                                </p:cTn>
                              </p:par>
                              <p:par>
                                <p:cTn id="11" presetID="10" presetClass="entr" presetSubtype="0" fill="hold"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800"/>
                                        <p:tgtEl>
                                          <p:spTgt spid="21"/>
                                        </p:tgtEl>
                                      </p:cBhvr>
                                    </p:animEffect>
                                  </p:childTnLst>
                                </p:cTn>
                              </p:par>
                              <p:par>
                                <p:cTn id="14" presetID="10" presetClass="entr" presetSubtype="0" fill="hold" nodeType="withEffect">
                                  <p:stCondLst>
                                    <p:cond delay="30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800"/>
                                        <p:tgtEl>
                                          <p:spTgt spid="24"/>
                                        </p:tgtEl>
                                      </p:cBhvr>
                                    </p:animEffect>
                                  </p:childTnLst>
                                </p:cTn>
                              </p:par>
                              <p:par>
                                <p:cTn id="17" presetID="10" presetClass="entr" presetSubtype="0" fill="hold" nodeType="withEffect">
                                  <p:stCondLst>
                                    <p:cond delay="80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800"/>
                                        <p:tgtEl>
                                          <p:spTgt spid="19"/>
                                        </p:tgtEl>
                                      </p:cBhvr>
                                    </p:animEffect>
                                  </p:childTnLst>
                                </p:cTn>
                              </p:par>
                              <p:par>
                                <p:cTn id="20" presetID="10" presetClass="entr" presetSubtype="0" fill="hold" nodeType="withEffect">
                                  <p:stCondLst>
                                    <p:cond delay="6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800"/>
                                        <p:tgtEl>
                                          <p:spTgt spid="20"/>
                                        </p:tgtEl>
                                      </p:cBhvr>
                                    </p:animEffect>
                                  </p:childTnLst>
                                </p:cTn>
                              </p:par>
                              <p:par>
                                <p:cTn id="23" presetID="10" presetClass="entr" presetSubtype="0" fill="hold" nodeType="withEffect">
                                  <p:stCondLst>
                                    <p:cond delay="120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800"/>
                                        <p:tgtEl>
                                          <p:spTgt spid="22"/>
                                        </p:tgtEl>
                                      </p:cBhvr>
                                    </p:animEffect>
                                  </p:childTnLst>
                                </p:cTn>
                              </p:par>
                              <p:par>
                                <p:cTn id="26" presetID="10" presetClass="entr" presetSubtype="0" fill="hold" nodeType="withEffect">
                                  <p:stCondLst>
                                    <p:cond delay="8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800"/>
                                        <p:tgtEl>
                                          <p:spTgt spid="15"/>
                                        </p:tgtEl>
                                      </p:cBhvr>
                                    </p:animEffect>
                                  </p:childTnLst>
                                </p:cTn>
                              </p:par>
                              <p:par>
                                <p:cTn id="29" presetID="10" presetClass="entr" presetSubtype="0" fill="hold" nodeType="withEffect">
                                  <p:stCondLst>
                                    <p:cond delay="100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800"/>
                                        <p:tgtEl>
                                          <p:spTgt spid="18"/>
                                        </p:tgtEl>
                                      </p:cBhvr>
                                    </p:animEffect>
                                  </p:childTnLst>
                                </p:cTn>
                              </p:par>
                              <p:par>
                                <p:cTn id="32" presetID="10" presetClass="entr" presetSubtype="0" fill="hold" nodeType="withEffect">
                                  <p:stCondLst>
                                    <p:cond delay="3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800"/>
                                        <p:tgtEl>
                                          <p:spTgt spid="12"/>
                                        </p:tgtEl>
                                      </p:cBhvr>
                                    </p:animEffect>
                                  </p:childTnLst>
                                </p:cTn>
                              </p:par>
                              <p:par>
                                <p:cTn id="35" presetID="10" presetClass="entr" presetSubtype="0" fill="hold" nodeType="withEffect">
                                  <p:stCondLst>
                                    <p:cond delay="7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800"/>
                                        <p:tgtEl>
                                          <p:spTgt spid="17"/>
                                        </p:tgtEl>
                                      </p:cBhvr>
                                    </p:animEffect>
                                  </p:childTnLst>
                                </p:cTn>
                              </p:par>
                              <p:par>
                                <p:cTn id="38" presetID="10" presetClass="entr" presetSubtype="0" fill="hold" nodeType="withEffect">
                                  <p:stCondLst>
                                    <p:cond delay="20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800"/>
                                        <p:tgtEl>
                                          <p:spTgt spid="16"/>
                                        </p:tgtEl>
                                      </p:cBhvr>
                                    </p:animEffect>
                                  </p:childTnLst>
                                </p:cTn>
                              </p:par>
                              <p:par>
                                <p:cTn id="41" presetID="10" presetClass="entr" presetSubtype="0"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800"/>
                                        <p:tgtEl>
                                          <p:spTgt spid="13"/>
                                        </p:tgtEl>
                                      </p:cBhvr>
                                    </p:animEffect>
                                  </p:childTnLst>
                                </p:cTn>
                              </p:par>
                              <p:par>
                                <p:cTn id="44" presetID="10" presetClass="entr" presetSubtype="0" fill="hold" nodeType="withEffect">
                                  <p:stCondLst>
                                    <p:cond delay="90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8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Mastertitelformat bearbeiten</a:t>
            </a:r>
            <a:endParaRPr lang="de-DE" altLang="de-DE" dirty="0"/>
          </a:p>
        </p:txBody>
      </p:sp>
      <p:sp>
        <p:nvSpPr>
          <p:cNvPr id="5" name="Inhaltsplatzhalter 4"/>
          <p:cNvSpPr>
            <a:spLocks noGrp="1"/>
          </p:cNvSpPr>
          <p:nvPr>
            <p:ph sz="quarter" idx="14"/>
          </p:nvPr>
        </p:nvSpPr>
        <p:spPr>
          <a:xfrm>
            <a:off x="719667" y="1988502"/>
            <a:ext cx="3360000" cy="41767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3"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Mastertextformat bearbeiten</a:t>
            </a:r>
          </a:p>
        </p:txBody>
      </p:sp>
      <p:sp>
        <p:nvSpPr>
          <p:cNvPr id="14" name="Inhaltsplatzhalter 4"/>
          <p:cNvSpPr>
            <a:spLocks noGrp="1"/>
          </p:cNvSpPr>
          <p:nvPr>
            <p:ph sz="quarter" idx="21"/>
          </p:nvPr>
        </p:nvSpPr>
        <p:spPr>
          <a:xfrm>
            <a:off x="4409624" y="1988502"/>
            <a:ext cx="3360000" cy="41767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3"/>
          <p:cNvSpPr>
            <a:spLocks noGrp="1"/>
          </p:cNvSpPr>
          <p:nvPr>
            <p:ph type="body" sz="quarter" idx="22"/>
          </p:nvPr>
        </p:nvSpPr>
        <p:spPr>
          <a:xfrm>
            <a:off x="44096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Mastertextformat bearbeiten</a:t>
            </a:r>
          </a:p>
        </p:txBody>
      </p:sp>
      <p:sp>
        <p:nvSpPr>
          <p:cNvPr id="16" name="Inhaltsplatzhalter 4"/>
          <p:cNvSpPr>
            <a:spLocks noGrp="1"/>
          </p:cNvSpPr>
          <p:nvPr>
            <p:ph sz="quarter" idx="23"/>
          </p:nvPr>
        </p:nvSpPr>
        <p:spPr>
          <a:xfrm>
            <a:off x="8112224" y="1988502"/>
            <a:ext cx="3360000" cy="41767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Textplatzhalter 3"/>
          <p:cNvSpPr>
            <a:spLocks noGrp="1"/>
          </p:cNvSpPr>
          <p:nvPr>
            <p:ph type="body" sz="quarter" idx="24"/>
          </p:nvPr>
        </p:nvSpPr>
        <p:spPr>
          <a:xfrm>
            <a:off x="81122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Mastertextformat bearbeiten</a:t>
            </a:r>
          </a:p>
        </p:txBody>
      </p:sp>
      <p:sp>
        <p:nvSpPr>
          <p:cNvPr id="19"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20" name="Fußzeilenplatzhalter 14"/>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21"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23" name="Rechteck 22"/>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4"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2" name="Picture 4" descr="Icon&#10;&#10;Description automatically generated">
            <a:extLst>
              <a:ext uri="{FF2B5EF4-FFF2-40B4-BE49-F238E27FC236}">
                <a16:creationId xmlns:a16="http://schemas.microsoft.com/office/drawing/2014/main" id="{033700F7-A030-8DCB-7488-D840DE3F432A}"/>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0760574" y="51651"/>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5570380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4" name="Rechteck 3"/>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5" name="Rechteck 4"/>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2"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Mastertitelformat bearbeiten</a:t>
            </a:r>
            <a:endParaRPr lang="de-DE" altLang="de-DE" dirty="0"/>
          </a:p>
        </p:txBody>
      </p:sp>
      <p:sp>
        <p:nvSpPr>
          <p:cNvPr id="19" name="Inhaltsplatzhalter 4"/>
          <p:cNvSpPr>
            <a:spLocks noGrp="1"/>
          </p:cNvSpPr>
          <p:nvPr>
            <p:ph sz="quarter" idx="15"/>
          </p:nvPr>
        </p:nvSpPr>
        <p:spPr>
          <a:xfrm>
            <a:off x="719667" y="1628775"/>
            <a:ext cx="10752667" cy="4536777"/>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9" name="Fußzeilenplatzhalter 14"/>
          <p:cNvSpPr>
            <a:spLocks noGrp="1"/>
          </p:cNvSpPr>
          <p:nvPr>
            <p:ph type="ftr" sz="quarter" idx="17"/>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10"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dirty="0"/>
          </a:p>
        </p:txBody>
      </p:sp>
      <p:sp>
        <p:nvSpPr>
          <p:cNvPr id="11" name="Rechteck 10"/>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3"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2" name="Picture 4" descr="Icon&#10;&#10;Description automatically generated">
            <a:extLst>
              <a:ext uri="{FF2B5EF4-FFF2-40B4-BE49-F238E27FC236}">
                <a16:creationId xmlns:a16="http://schemas.microsoft.com/office/drawing/2014/main" id="{E9CA738F-1758-CD4D-D91C-569327CAA01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0760574" y="51651"/>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10223834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Mastertitelformat bearbeiten</a:t>
            </a:r>
            <a:endParaRPr lang="de-DE" altLang="de-DE" dirty="0"/>
          </a:p>
        </p:txBody>
      </p:sp>
      <p:sp>
        <p:nvSpPr>
          <p:cNvPr id="5" name="Inhaltsplatzhalter 4"/>
          <p:cNvSpPr>
            <a:spLocks noGrp="1"/>
          </p:cNvSpPr>
          <p:nvPr>
            <p:ph sz="quarter" idx="14"/>
          </p:nvPr>
        </p:nvSpPr>
        <p:spPr>
          <a:xfrm>
            <a:off x="719668" y="1988840"/>
            <a:ext cx="10752667" cy="417701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5" y="1629138"/>
            <a:ext cx="1075264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Mastertextformat bearbeiten</a:t>
            </a:r>
          </a:p>
        </p:txBody>
      </p:sp>
      <p:sp>
        <p:nvSpPr>
          <p:cNvPr id="15"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16" name="Fußzeilenplatzhalter 14"/>
          <p:cNvSpPr>
            <a:spLocks noGrp="1"/>
          </p:cNvSpPr>
          <p:nvPr>
            <p:ph type="ftr" sz="quarter" idx="18"/>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17" name="Foliennummernplatzhalter 15"/>
          <p:cNvSpPr>
            <a:spLocks noGrp="1"/>
          </p:cNvSpPr>
          <p:nvPr>
            <p:ph type="sldNum" sz="quarter" idx="19"/>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18" name="Rechteck 17"/>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0" name="Textplatzhalter 2"/>
          <p:cNvSpPr>
            <a:spLocks noGrp="1"/>
          </p:cNvSpPr>
          <p:nvPr>
            <p:ph type="body" sz="quarter" idx="20"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2" name="Picture 4" descr="Icon&#10;&#10;Description automatically generated">
            <a:extLst>
              <a:ext uri="{FF2B5EF4-FFF2-40B4-BE49-F238E27FC236}">
                <a16:creationId xmlns:a16="http://schemas.microsoft.com/office/drawing/2014/main" id="{1D1F57D4-2D42-690D-E887-30C0D26C3FF5}"/>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0760574" y="51651"/>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2883276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el-kein Inhalt">
    <p:spTree>
      <p:nvGrpSpPr>
        <p:cNvPr id="1" name=""/>
        <p:cNvGrpSpPr/>
        <p:nvPr/>
      </p:nvGrpSpPr>
      <p:grpSpPr>
        <a:xfrm>
          <a:off x="0" y="0"/>
          <a:ext cx="0" cy="0"/>
          <a:chOff x="0" y="0"/>
          <a:chExt cx="0" cy="0"/>
        </a:xfrm>
      </p:grpSpPr>
      <p:sp>
        <p:nvSpPr>
          <p:cNvPr id="17" name="Rechteck 16"/>
          <p:cNvSpPr/>
          <p:nvPr userDrawn="1"/>
        </p:nvSpPr>
        <p:spPr>
          <a:xfrm flipV="1">
            <a:off x="0" y="539673"/>
            <a:ext cx="12192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Datumsplatzhalter 13"/>
          <p:cNvSpPr>
            <a:spLocks noGrp="1"/>
          </p:cNvSpPr>
          <p:nvPr>
            <p:ph type="dt" sz="half" idx="10"/>
          </p:nvPr>
        </p:nvSpPr>
        <p:spPr>
          <a:xfrm>
            <a:off x="565482" y="6356351"/>
            <a:ext cx="1069909" cy="365125"/>
          </a:xfrm>
          <a:prstGeom prst="rect">
            <a:avLst/>
          </a:prstGeom>
        </p:spPr>
        <p:txBody>
          <a:bodyPr/>
          <a:lstStyle>
            <a:lvl1pPr>
              <a:defRPr sz="950">
                <a:solidFill>
                  <a:schemeClr val="bg1">
                    <a:lumMod val="50000"/>
                  </a:schemeClr>
                </a:solidFill>
                <a:latin typeface="+mn-lt"/>
              </a:defRPr>
            </a:lvl1pPr>
          </a:lstStyle>
          <a:p>
            <a:r>
              <a:rPr lang="de-DE"/>
              <a:t>13.03.2024</a:t>
            </a:r>
            <a:endParaRPr lang="de-DE" dirty="0"/>
          </a:p>
        </p:txBody>
      </p:sp>
      <p:sp>
        <p:nvSpPr>
          <p:cNvPr id="15" name="Fußzeilenplatzhalter 14"/>
          <p:cNvSpPr>
            <a:spLocks noGrp="1"/>
          </p:cNvSpPr>
          <p:nvPr>
            <p:ph type="ftr" sz="quarter" idx="11"/>
          </p:nvPr>
        </p:nvSpPr>
        <p:spPr>
          <a:xfrm>
            <a:off x="2400000" y="6356351"/>
            <a:ext cx="7392000" cy="365125"/>
          </a:xfrm>
          <a:prstGeom prst="rect">
            <a:avLst/>
          </a:prstGeom>
        </p:spPr>
        <p:txBody>
          <a:bodyPr/>
          <a:lstStyle>
            <a:lvl1pPr algn="ctr">
              <a:defRPr sz="950">
                <a:solidFill>
                  <a:schemeClr val="bg1">
                    <a:lumMod val="50000"/>
                  </a:schemeClr>
                </a:solidFill>
                <a:latin typeface="+mn-lt"/>
              </a:defRPr>
            </a:lvl1pPr>
          </a:lstStyle>
          <a:p>
            <a:r>
              <a:rPr lang="en-US"/>
              <a:t>© Energy Brainpool GmbH &amp; Co. KG</a:t>
            </a:r>
            <a:endParaRPr lang="de-DE" dirty="0"/>
          </a:p>
        </p:txBody>
      </p:sp>
      <p:sp>
        <p:nvSpPr>
          <p:cNvPr id="16" name="Foliennummernplatzhalter 15"/>
          <p:cNvSpPr>
            <a:spLocks noGrp="1"/>
          </p:cNvSpPr>
          <p:nvPr>
            <p:ph type="sldNum" sz="quarter" idx="12"/>
          </p:nvPr>
        </p:nvSpPr>
        <p:spPr>
          <a:xfrm>
            <a:off x="10992543" y="6356351"/>
            <a:ext cx="602556" cy="365125"/>
          </a:xfrm>
          <a:prstGeom prst="rect">
            <a:avLst/>
          </a:prstGeom>
        </p:spPr>
        <p:txBody>
          <a:bodyPr/>
          <a:lstStyle>
            <a:lvl1pPr>
              <a:defRPr sz="950">
                <a:solidFill>
                  <a:schemeClr val="bg1">
                    <a:lumMod val="50000"/>
                  </a:schemeClr>
                </a:solidFill>
                <a:latin typeface="+mn-lt"/>
              </a:defRPr>
            </a:lvl1pPr>
          </a:lstStyle>
          <a:p>
            <a:fld id="{B7F6052C-4AB4-4EAD-9E30-9753CD4E3464}" type="slidenum">
              <a:rPr lang="de-DE" smtClean="0"/>
              <a:pPr/>
              <a:t>‹#›</a:t>
            </a:fld>
            <a:endParaRPr lang="de-DE"/>
          </a:p>
        </p:txBody>
      </p:sp>
      <p:sp>
        <p:nvSpPr>
          <p:cNvPr id="18" name="Rechteck 17"/>
          <p:cNvSpPr/>
          <p:nvPr userDrawn="1"/>
        </p:nvSpPr>
        <p:spPr>
          <a:xfrm>
            <a:off x="0" y="503675"/>
            <a:ext cx="12192000" cy="3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 name="Titelplatzhalter 1"/>
          <p:cNvSpPr>
            <a:spLocks noGrp="1"/>
          </p:cNvSpPr>
          <p:nvPr>
            <p:ph type="title"/>
          </p:nvPr>
        </p:nvSpPr>
        <p:spPr bwMode="auto">
          <a:xfrm>
            <a:off x="573563" y="692696"/>
            <a:ext cx="11042704"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Mastertitelformat bearbeiten</a:t>
            </a:r>
            <a:endParaRPr lang="de-DE" altLang="de-DE" dirty="0"/>
          </a:p>
        </p:txBody>
      </p:sp>
      <p:sp>
        <p:nvSpPr>
          <p:cNvPr id="21" name="Rechteck 20"/>
          <p:cNvSpPr/>
          <p:nvPr userDrawn="1"/>
        </p:nvSpPr>
        <p:spPr>
          <a:xfrm rot="16200000" flipH="1">
            <a:off x="6080715" y="824738"/>
            <a:ext cx="18000" cy="11040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50">
              <a:solidFill>
                <a:schemeClr val="bg1">
                  <a:lumMod val="50000"/>
                </a:schemeClr>
              </a:solidFill>
              <a:latin typeface="+mn-lt"/>
            </a:endParaRPr>
          </a:p>
        </p:txBody>
      </p:sp>
      <p:pic>
        <p:nvPicPr>
          <p:cNvPr id="2" name="Picture 4" descr="Icon&#10;&#10;Description automatically generated">
            <a:extLst>
              <a:ext uri="{FF2B5EF4-FFF2-40B4-BE49-F238E27FC236}">
                <a16:creationId xmlns:a16="http://schemas.microsoft.com/office/drawing/2014/main" id="{FC0D6A9E-119E-C15A-2129-4DB4160FCC55}"/>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0760574" y="51651"/>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28781864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el-kein Inhalt">
    <p:spTree>
      <p:nvGrpSpPr>
        <p:cNvPr id="1" name=""/>
        <p:cNvGrpSpPr/>
        <p:nvPr/>
      </p:nvGrpSpPr>
      <p:grpSpPr>
        <a:xfrm>
          <a:off x="0" y="0"/>
          <a:ext cx="0" cy="0"/>
          <a:chOff x="0" y="0"/>
          <a:chExt cx="0" cy="0"/>
        </a:xfrm>
      </p:grpSpPr>
      <p:sp>
        <p:nvSpPr>
          <p:cNvPr id="3" name="Rechteck 2"/>
          <p:cNvSpPr/>
          <p:nvPr/>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4" name="Rechteck 3"/>
          <p:cNvSpPr/>
          <p:nvPr/>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2"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Mastertitelformat bearbeiten</a:t>
            </a:r>
            <a:endParaRPr lang="de-DE" altLang="de-DE" dirty="0"/>
          </a:p>
        </p:txBody>
      </p:sp>
      <p:sp>
        <p:nvSpPr>
          <p:cNvPr id="11"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3.03.2024</a:t>
            </a:r>
            <a:endParaRPr lang="de-DE" dirty="0"/>
          </a:p>
        </p:txBody>
      </p:sp>
      <p:sp>
        <p:nvSpPr>
          <p:cNvPr id="13" name="Fußzeilenplatzhalter 14"/>
          <p:cNvSpPr>
            <a:spLocks noGrp="1"/>
          </p:cNvSpPr>
          <p:nvPr>
            <p:ph type="ftr" sz="quarter" idx="17"/>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Energy Brainpool GmbH &amp; Co. KG</a:t>
            </a:r>
            <a:endParaRPr lang="de-DE" dirty="0"/>
          </a:p>
        </p:txBody>
      </p:sp>
      <p:sp>
        <p:nvSpPr>
          <p:cNvPr id="14"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15" name="Rechteck 14"/>
          <p:cNvSpPr/>
          <p:nvPr/>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16"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2" name="Picture 4" descr="Icon&#10;&#10;Description automatically generated">
            <a:extLst>
              <a:ext uri="{FF2B5EF4-FFF2-40B4-BE49-F238E27FC236}">
                <a16:creationId xmlns:a16="http://schemas.microsoft.com/office/drawing/2014/main" id="{2A031E0A-0530-3EAC-9570-0772E66D1827}"/>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0760574" y="51651"/>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465548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el, Inhalt, Zwischenueberschrift">
    <p:spTree>
      <p:nvGrpSpPr>
        <p:cNvPr id="1" name=""/>
        <p:cNvGrpSpPr/>
        <p:nvPr/>
      </p:nvGrpSpPr>
      <p:grpSpPr>
        <a:xfrm>
          <a:off x="0" y="0"/>
          <a:ext cx="0" cy="0"/>
          <a:chOff x="0" y="0"/>
          <a:chExt cx="0" cy="0"/>
        </a:xfrm>
      </p:grpSpPr>
      <p:sp>
        <p:nvSpPr>
          <p:cNvPr id="17" name="Rechteck 16"/>
          <p:cNvSpPr/>
          <p:nvPr userDrawn="1"/>
        </p:nvSpPr>
        <p:spPr>
          <a:xfrm flipV="1">
            <a:off x="0" y="539673"/>
            <a:ext cx="12192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Datumsplatzhalter 13"/>
          <p:cNvSpPr>
            <a:spLocks noGrp="1"/>
          </p:cNvSpPr>
          <p:nvPr>
            <p:ph type="dt" sz="half" idx="10"/>
          </p:nvPr>
        </p:nvSpPr>
        <p:spPr>
          <a:xfrm>
            <a:off x="565482" y="6356351"/>
            <a:ext cx="1069909" cy="365125"/>
          </a:xfrm>
          <a:prstGeom prst="rect">
            <a:avLst/>
          </a:prstGeom>
        </p:spPr>
        <p:txBody>
          <a:bodyPr/>
          <a:lstStyle>
            <a:lvl1pPr>
              <a:defRPr sz="950">
                <a:solidFill>
                  <a:schemeClr val="bg1">
                    <a:lumMod val="50000"/>
                  </a:schemeClr>
                </a:solidFill>
                <a:latin typeface="+mn-lt"/>
              </a:defRPr>
            </a:lvl1pPr>
          </a:lstStyle>
          <a:p>
            <a:r>
              <a:rPr lang="de-DE"/>
              <a:t>13.03.2024</a:t>
            </a:r>
            <a:endParaRPr lang="de-DE" dirty="0"/>
          </a:p>
        </p:txBody>
      </p:sp>
      <p:sp>
        <p:nvSpPr>
          <p:cNvPr id="15" name="Fußzeilenplatzhalter 14"/>
          <p:cNvSpPr>
            <a:spLocks noGrp="1"/>
          </p:cNvSpPr>
          <p:nvPr>
            <p:ph type="ftr" sz="quarter" idx="11"/>
          </p:nvPr>
        </p:nvSpPr>
        <p:spPr>
          <a:xfrm>
            <a:off x="2399590" y="6356351"/>
            <a:ext cx="7392821" cy="365125"/>
          </a:xfrm>
          <a:prstGeom prst="rect">
            <a:avLst/>
          </a:prstGeom>
        </p:spPr>
        <p:txBody>
          <a:bodyPr/>
          <a:lstStyle>
            <a:lvl1pPr algn="ctr">
              <a:defRPr sz="950">
                <a:solidFill>
                  <a:schemeClr val="bg1">
                    <a:lumMod val="50000"/>
                  </a:schemeClr>
                </a:solidFill>
                <a:latin typeface="+mn-lt"/>
              </a:defRPr>
            </a:lvl1pPr>
          </a:lstStyle>
          <a:p>
            <a:r>
              <a:rPr lang="en-US"/>
              <a:t>© Energy Brainpool GmbH &amp; Co. KG</a:t>
            </a:r>
            <a:endParaRPr lang="de-DE" dirty="0"/>
          </a:p>
        </p:txBody>
      </p:sp>
      <p:sp>
        <p:nvSpPr>
          <p:cNvPr id="16" name="Foliennummernplatzhalter 15"/>
          <p:cNvSpPr>
            <a:spLocks noGrp="1"/>
          </p:cNvSpPr>
          <p:nvPr>
            <p:ph type="sldNum" sz="quarter" idx="12"/>
          </p:nvPr>
        </p:nvSpPr>
        <p:spPr>
          <a:xfrm>
            <a:off x="10992543" y="6356351"/>
            <a:ext cx="602556" cy="365125"/>
          </a:xfrm>
          <a:prstGeom prst="rect">
            <a:avLst/>
          </a:prstGeom>
        </p:spPr>
        <p:txBody>
          <a:bodyPr/>
          <a:lstStyle>
            <a:lvl1pPr>
              <a:defRPr sz="950">
                <a:solidFill>
                  <a:schemeClr val="bg1">
                    <a:lumMod val="50000"/>
                  </a:schemeClr>
                </a:solidFill>
                <a:latin typeface="+mn-lt"/>
              </a:defRPr>
            </a:lvl1pPr>
          </a:lstStyle>
          <a:p>
            <a:fld id="{B7F6052C-4AB4-4EAD-9E30-9753CD4E3464}" type="slidenum">
              <a:rPr lang="de-DE" smtClean="0"/>
              <a:pPr/>
              <a:t>‹#›</a:t>
            </a:fld>
            <a:endParaRPr lang="de-DE"/>
          </a:p>
        </p:txBody>
      </p:sp>
      <p:sp>
        <p:nvSpPr>
          <p:cNvPr id="18" name="Rechteck 17"/>
          <p:cNvSpPr/>
          <p:nvPr userDrawn="1"/>
        </p:nvSpPr>
        <p:spPr>
          <a:xfrm>
            <a:off x="0" y="503675"/>
            <a:ext cx="12192000" cy="3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Titelplatzhalter 1"/>
          <p:cNvSpPr>
            <a:spLocks noGrp="1"/>
          </p:cNvSpPr>
          <p:nvPr>
            <p:ph type="title"/>
          </p:nvPr>
        </p:nvSpPr>
        <p:spPr bwMode="auto">
          <a:xfrm>
            <a:off x="573563" y="692696"/>
            <a:ext cx="11040149"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Mastertitelformat bearbeiten</a:t>
            </a:r>
            <a:endParaRPr lang="de-DE" altLang="de-DE" dirty="0"/>
          </a:p>
        </p:txBody>
      </p:sp>
      <p:sp>
        <p:nvSpPr>
          <p:cNvPr id="5" name="Inhaltsplatzhalter 4"/>
          <p:cNvSpPr>
            <a:spLocks noGrp="1"/>
          </p:cNvSpPr>
          <p:nvPr>
            <p:ph sz="quarter" idx="14"/>
          </p:nvPr>
        </p:nvSpPr>
        <p:spPr>
          <a:xfrm>
            <a:off x="573585" y="1988840"/>
            <a:ext cx="11042649" cy="41767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hasCustomPrompt="1"/>
          </p:nvPr>
        </p:nvSpPr>
        <p:spPr>
          <a:xfrm>
            <a:off x="573584" y="1629138"/>
            <a:ext cx="110448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285750" indent="-285750">
              <a:buNone/>
              <a:defRPr lang="de-DE" dirty="0">
                <a:solidFill>
                  <a:schemeClr val="bg1"/>
                </a:solidFill>
              </a:defRPr>
            </a:lvl1pPr>
          </a:lstStyle>
          <a:p>
            <a:pPr marL="0" lvl="0" indent="0">
              <a:spcBef>
                <a:spcPts val="400"/>
              </a:spcBef>
              <a:spcAft>
                <a:spcPts val="100"/>
              </a:spcAft>
            </a:pPr>
            <a:r>
              <a:rPr lang="de-DE" dirty="0"/>
              <a:t>Zwischenüberschrift</a:t>
            </a:r>
          </a:p>
        </p:txBody>
      </p:sp>
      <p:sp>
        <p:nvSpPr>
          <p:cNvPr id="26" name="Rechteck 25"/>
          <p:cNvSpPr/>
          <p:nvPr userDrawn="1"/>
        </p:nvSpPr>
        <p:spPr>
          <a:xfrm rot="16200000" flipH="1">
            <a:off x="6080715" y="824738"/>
            <a:ext cx="18000" cy="11040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50">
              <a:solidFill>
                <a:schemeClr val="bg1">
                  <a:lumMod val="50000"/>
                </a:schemeClr>
              </a:solidFill>
              <a:latin typeface="+mn-lt"/>
            </a:endParaRPr>
          </a:p>
        </p:txBody>
      </p:sp>
      <p:pic>
        <p:nvPicPr>
          <p:cNvPr id="2" name="Picture 4" descr="Icon&#10;&#10;Description automatically generated">
            <a:extLst>
              <a:ext uri="{FF2B5EF4-FFF2-40B4-BE49-F238E27FC236}">
                <a16:creationId xmlns:a16="http://schemas.microsoft.com/office/drawing/2014/main" id="{DA39381F-3B9D-E976-E4B1-BC2A1C78D220}"/>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0760574" y="51651"/>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13185270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10174287" cy="4096733"/>
          </a:xfrm>
          <a:prstGeom prst="rect">
            <a:avLst/>
          </a:prstGeom>
        </p:spPr>
        <p:txBody>
          <a:bodyPr/>
          <a:lstStyle>
            <a:lvl1pPr marL="0" indent="0">
              <a:buNone/>
              <a:defRPr/>
            </a:lvl1pPr>
          </a:lstStyle>
          <a:p>
            <a:pPr lvl="0"/>
            <a:r>
              <a:rPr lang="nb-NO" err="1"/>
              <a:t>Table</a:t>
            </a:r>
            <a:r>
              <a:rPr lang="nb-NO"/>
              <a:t>/diagram slide</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tx2"/>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755155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bbles with logo">
    <p:spTree>
      <p:nvGrpSpPr>
        <p:cNvPr id="1" name=""/>
        <p:cNvGrpSpPr/>
        <p:nvPr/>
      </p:nvGrpSpPr>
      <p:grpSpPr>
        <a:xfrm>
          <a:off x="0" y="0"/>
          <a:ext cx="0" cy="0"/>
          <a:chOff x="0" y="0"/>
          <a:chExt cx="0" cy="0"/>
        </a:xfrm>
      </p:grpSpPr>
      <p:pic>
        <p:nvPicPr>
          <p:cNvPr id="12" name="Picture 4" descr="Logo, company name&#10;&#10;Description automatically generated">
            <a:extLst>
              <a:ext uri="{FF2B5EF4-FFF2-40B4-BE49-F238E27FC236}">
                <a16:creationId xmlns:a16="http://schemas.microsoft.com/office/drawing/2014/main" id="{48E419A9-5AAA-F780-D314-227194908B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126" y="5617018"/>
            <a:ext cx="3264254" cy="1240982"/>
          </a:xfrm>
          <a:prstGeom prst="rect">
            <a:avLst/>
          </a:prstGeom>
        </p:spPr>
      </p:pic>
      <p:sp>
        <p:nvSpPr>
          <p:cNvPr id="20" name="Ellipse 19">
            <a:extLst>
              <a:ext uri="{FF2B5EF4-FFF2-40B4-BE49-F238E27FC236}">
                <a16:creationId xmlns:a16="http://schemas.microsoft.com/office/drawing/2014/main" id="{5E144B33-9B63-A459-2EAD-A7449C2C3BA5}"/>
              </a:ext>
            </a:extLst>
          </p:cNvPr>
          <p:cNvSpPr/>
          <p:nvPr userDrawn="1"/>
        </p:nvSpPr>
        <p:spPr>
          <a:xfrm>
            <a:off x="2609532" y="1049581"/>
            <a:ext cx="709531" cy="7094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912E01E-C4CD-DBF6-58A9-26CA3BA46B63}"/>
              </a:ext>
            </a:extLst>
          </p:cNvPr>
          <p:cNvSpPr/>
          <p:nvPr userDrawn="1"/>
        </p:nvSpPr>
        <p:spPr>
          <a:xfrm>
            <a:off x="3644449" y="348928"/>
            <a:ext cx="2691616" cy="26916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9B63C64-586C-0FD9-D574-30AAF00B63BA}"/>
              </a:ext>
            </a:extLst>
          </p:cNvPr>
          <p:cNvSpPr/>
          <p:nvPr userDrawn="1"/>
        </p:nvSpPr>
        <p:spPr>
          <a:xfrm>
            <a:off x="836059" y="-418281"/>
            <a:ext cx="1675737" cy="16757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23" name="Ellipse 22">
            <a:extLst>
              <a:ext uri="{FF2B5EF4-FFF2-40B4-BE49-F238E27FC236}">
                <a16:creationId xmlns:a16="http://schemas.microsoft.com/office/drawing/2014/main" id="{3211A6E5-F2FE-99D1-C27E-2264E9EFE097}"/>
              </a:ext>
            </a:extLst>
          </p:cNvPr>
          <p:cNvSpPr/>
          <p:nvPr userDrawn="1"/>
        </p:nvSpPr>
        <p:spPr>
          <a:xfrm>
            <a:off x="6661451" y="-768569"/>
            <a:ext cx="2376311" cy="237631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7157149-4933-83A2-33F2-81A338C098C0}"/>
              </a:ext>
            </a:extLst>
          </p:cNvPr>
          <p:cNvSpPr/>
          <p:nvPr userDrawn="1"/>
        </p:nvSpPr>
        <p:spPr>
          <a:xfrm>
            <a:off x="9390596" y="-1619326"/>
            <a:ext cx="3239152" cy="32386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47C69F67-66EE-1721-E30E-E97F8B9B9B48}"/>
              </a:ext>
            </a:extLst>
          </p:cNvPr>
          <p:cNvSpPr/>
          <p:nvPr userDrawn="1"/>
        </p:nvSpPr>
        <p:spPr>
          <a:xfrm>
            <a:off x="2837182" y="-523835"/>
            <a:ext cx="1207735" cy="1207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653D88D-D623-6FF9-6313-E3B99BFEB004}"/>
              </a:ext>
            </a:extLst>
          </p:cNvPr>
          <p:cNvSpPr/>
          <p:nvPr userDrawn="1"/>
        </p:nvSpPr>
        <p:spPr>
          <a:xfrm>
            <a:off x="2127416" y="1843265"/>
            <a:ext cx="326231" cy="3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Ellipse 1">
            <a:extLst>
              <a:ext uri="{FF2B5EF4-FFF2-40B4-BE49-F238E27FC236}">
                <a16:creationId xmlns:a16="http://schemas.microsoft.com/office/drawing/2014/main" id="{4046C679-3B94-7727-F549-4209F6584658}"/>
              </a:ext>
            </a:extLst>
          </p:cNvPr>
          <p:cNvSpPr/>
          <p:nvPr userDrawn="1"/>
        </p:nvSpPr>
        <p:spPr>
          <a:xfrm>
            <a:off x="6661451" y="1759002"/>
            <a:ext cx="1038274" cy="10382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4" name="Ellipse 3">
            <a:extLst>
              <a:ext uri="{FF2B5EF4-FFF2-40B4-BE49-F238E27FC236}">
                <a16:creationId xmlns:a16="http://schemas.microsoft.com/office/drawing/2014/main" id="{154EB492-F02F-EAB9-93BA-AD9CD6CCB75D}"/>
              </a:ext>
            </a:extLst>
          </p:cNvPr>
          <p:cNvSpPr/>
          <p:nvPr userDrawn="1"/>
        </p:nvSpPr>
        <p:spPr>
          <a:xfrm>
            <a:off x="10907204" y="2006355"/>
            <a:ext cx="1793680" cy="17936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Ellipse 4">
            <a:extLst>
              <a:ext uri="{FF2B5EF4-FFF2-40B4-BE49-F238E27FC236}">
                <a16:creationId xmlns:a16="http://schemas.microsoft.com/office/drawing/2014/main" id="{31004F8D-E44B-4D8F-50D3-D4B30F73B33B}"/>
              </a:ext>
            </a:extLst>
          </p:cNvPr>
          <p:cNvSpPr/>
          <p:nvPr userDrawn="1"/>
        </p:nvSpPr>
        <p:spPr>
          <a:xfrm>
            <a:off x="8232547" y="1759002"/>
            <a:ext cx="1550358" cy="15501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Ellipse 5">
            <a:extLst>
              <a:ext uri="{FF2B5EF4-FFF2-40B4-BE49-F238E27FC236}">
                <a16:creationId xmlns:a16="http://schemas.microsoft.com/office/drawing/2014/main" id="{ABA7DEF6-F72E-5A51-87FC-96B55C838805}"/>
              </a:ext>
            </a:extLst>
          </p:cNvPr>
          <p:cNvSpPr/>
          <p:nvPr userDrawn="1"/>
        </p:nvSpPr>
        <p:spPr>
          <a:xfrm>
            <a:off x="10064584" y="1759002"/>
            <a:ext cx="606066" cy="60606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Friform 39">
            <a:extLst>
              <a:ext uri="{FF2B5EF4-FFF2-40B4-BE49-F238E27FC236}">
                <a16:creationId xmlns:a16="http://schemas.microsoft.com/office/drawing/2014/main" id="{86EF08E2-1944-7428-50D4-5B7E5232EF63}"/>
              </a:ext>
            </a:extLst>
          </p:cNvPr>
          <p:cNvSpPr/>
          <p:nvPr userDrawn="1"/>
        </p:nvSpPr>
        <p:spPr>
          <a:xfrm>
            <a:off x="0" y="1049580"/>
            <a:ext cx="1380578" cy="2379420"/>
          </a:xfrm>
          <a:custGeom>
            <a:avLst/>
            <a:gdLst>
              <a:gd name="connsiteX0" fmla="*/ 190685 w 1380578"/>
              <a:gd name="connsiteY0" fmla="*/ 0 h 2379420"/>
              <a:gd name="connsiteX1" fmla="*/ 1380578 w 1380578"/>
              <a:gd name="connsiteY1" fmla="*/ 1189710 h 2379420"/>
              <a:gd name="connsiteX2" fmla="*/ 190685 w 1380578"/>
              <a:gd name="connsiteY2" fmla="*/ 2379420 h 2379420"/>
              <a:gd name="connsiteX3" fmla="*/ 69025 w 1380578"/>
              <a:gd name="connsiteY3" fmla="*/ 2373278 h 2379420"/>
              <a:gd name="connsiteX4" fmla="*/ 0 w 1380578"/>
              <a:gd name="connsiteY4" fmla="*/ 2362745 h 2379420"/>
              <a:gd name="connsiteX5" fmla="*/ 0 w 1380578"/>
              <a:gd name="connsiteY5" fmla="*/ 16675 h 2379420"/>
              <a:gd name="connsiteX6" fmla="*/ 69025 w 1380578"/>
              <a:gd name="connsiteY6" fmla="*/ 6142 h 2379420"/>
              <a:gd name="connsiteX7" fmla="*/ 190685 w 1380578"/>
              <a:gd name="connsiteY7" fmla="*/ 0 h 237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0578" h="2379420">
                <a:moveTo>
                  <a:pt x="190685" y="0"/>
                </a:moveTo>
                <a:cubicBezTo>
                  <a:pt x="847845" y="0"/>
                  <a:pt x="1380578" y="532651"/>
                  <a:pt x="1380578" y="1189710"/>
                </a:cubicBezTo>
                <a:cubicBezTo>
                  <a:pt x="1380578" y="1846769"/>
                  <a:pt x="847845" y="2379420"/>
                  <a:pt x="190685" y="2379420"/>
                </a:cubicBezTo>
                <a:cubicBezTo>
                  <a:pt x="149613" y="2379420"/>
                  <a:pt x="109026" y="2377339"/>
                  <a:pt x="69025" y="2373278"/>
                </a:cubicBezTo>
                <a:lnTo>
                  <a:pt x="0" y="2362745"/>
                </a:lnTo>
                <a:lnTo>
                  <a:pt x="0" y="16675"/>
                </a:lnTo>
                <a:lnTo>
                  <a:pt x="69025" y="6142"/>
                </a:lnTo>
                <a:cubicBezTo>
                  <a:pt x="109026" y="2081"/>
                  <a:pt x="149613" y="0"/>
                  <a:pt x="190685"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43" name="Rektangel 42">
            <a:extLst>
              <a:ext uri="{FF2B5EF4-FFF2-40B4-BE49-F238E27FC236}">
                <a16:creationId xmlns:a16="http://schemas.microsoft.com/office/drawing/2014/main" id="{A8638787-4EA9-349C-BD62-5B23425E9EDD}"/>
              </a:ext>
            </a:extLst>
          </p:cNvPr>
          <p:cNvSpPr/>
          <p:nvPr userDrawn="1"/>
        </p:nvSpPr>
        <p:spPr>
          <a:xfrm>
            <a:off x="-572494" y="-1649848"/>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ktangel 43">
            <a:extLst>
              <a:ext uri="{FF2B5EF4-FFF2-40B4-BE49-F238E27FC236}">
                <a16:creationId xmlns:a16="http://schemas.microsoft.com/office/drawing/2014/main" id="{30D2F3A5-7AEC-3BEF-98F1-C802730FEE52}"/>
              </a:ext>
            </a:extLst>
          </p:cNvPr>
          <p:cNvSpPr/>
          <p:nvPr userDrawn="1"/>
        </p:nvSpPr>
        <p:spPr>
          <a:xfrm>
            <a:off x="12197301" y="-333955"/>
            <a:ext cx="2282024" cy="44540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18062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800"/>
                                        <p:tgtEl>
                                          <p:spTgt spid="40"/>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8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800"/>
                                        <p:tgtEl>
                                          <p:spTgt spid="23"/>
                                        </p:tgtEl>
                                      </p:cBhvr>
                                    </p:animEffect>
                                  </p:childTnLst>
                                </p:cTn>
                              </p:par>
                              <p:par>
                                <p:cTn id="14" presetID="10" presetClass="entr" presetSubtype="0" fill="hold" grpId="0" nodeType="withEffect">
                                  <p:stCondLst>
                                    <p:cond delay="80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800"/>
                                        <p:tgtEl>
                                          <p:spTgt spid="24"/>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800"/>
                                        <p:tgtEl>
                                          <p:spTgt spid="5"/>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800"/>
                                        <p:tgtEl>
                                          <p:spTgt spid="26"/>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800"/>
                                        <p:tgtEl>
                                          <p:spTgt spid="2"/>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800"/>
                                        <p:tgtEl>
                                          <p:spTgt spid="6"/>
                                        </p:tgtEl>
                                      </p:cBhvr>
                                    </p:animEffect>
                                  </p:childTnLst>
                                </p:cTn>
                              </p:par>
                              <p:par>
                                <p:cTn id="29" presetID="10" presetClass="entr" presetSubtype="0" fill="hold" grpId="0" nodeType="withEffect">
                                  <p:stCondLst>
                                    <p:cond delay="90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800"/>
                                        <p:tgtEl>
                                          <p:spTgt spid="4"/>
                                        </p:tgtEl>
                                      </p:cBhvr>
                                    </p:animEffect>
                                  </p:childTnLst>
                                </p:cTn>
                              </p:par>
                              <p:par>
                                <p:cTn id="32" presetID="10" presetClass="entr" presetSubtype="0" fill="hold" grpId="0" nodeType="withEffect">
                                  <p:stCondLst>
                                    <p:cond delay="20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800"/>
                                        <p:tgtEl>
                                          <p:spTgt spid="25"/>
                                        </p:tgtEl>
                                      </p:cBhvr>
                                    </p:animEffect>
                                  </p:childTnLst>
                                </p:cTn>
                              </p:par>
                              <p:par>
                                <p:cTn id="35" presetID="10" presetClass="entr" presetSubtype="0" fill="hold" grpId="0" nodeType="withEffect">
                                  <p:stCondLst>
                                    <p:cond delay="6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800"/>
                                        <p:tgtEl>
                                          <p:spTgt spid="22"/>
                                        </p:tgtEl>
                                      </p:cBhvr>
                                    </p:animEffect>
                                  </p:childTnLst>
                                </p:cTn>
                              </p:par>
                              <p:par>
                                <p:cTn id="38" presetID="10" presetClass="entr" presetSubtype="0" fill="hold" grpId="0" nodeType="withEffect">
                                  <p:stCondLst>
                                    <p:cond delay="3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8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 grpId="0" animBg="1"/>
      <p:bldP spid="4" grpId="0" animBg="1"/>
      <p:bldP spid="5" grpId="0" animBg="1"/>
      <p:bldP spid="6" grpId="0" animBg="1"/>
      <p:bldP spid="40" grpId="0" animBg="1"/>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Datumsplatzhalter 13">
            <a:extLst>
              <a:ext uri="{FF2B5EF4-FFF2-40B4-BE49-F238E27FC236}">
                <a16:creationId xmlns:a16="http://schemas.microsoft.com/office/drawing/2014/main" id="{817AF89F-91EC-09D7-52F9-586E48DF99EA}"/>
              </a:ext>
            </a:extLst>
          </p:cNvPr>
          <p:cNvSpPr>
            <a:spLocks noGrp="1"/>
          </p:cNvSpPr>
          <p:nvPr>
            <p:ph type="dt" sz="half" idx="17"/>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05.11.2024</a:t>
            </a:r>
          </a:p>
        </p:txBody>
      </p:sp>
      <p:sp>
        <p:nvSpPr>
          <p:cNvPr id="5" name="Fußzeilenplatzhalter 14">
            <a:extLst>
              <a:ext uri="{FF2B5EF4-FFF2-40B4-BE49-F238E27FC236}">
                <a16:creationId xmlns:a16="http://schemas.microsoft.com/office/drawing/2014/main" id="{E88F86D3-2A0B-3A73-5780-5E0DC0FDB793}"/>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Energy Brainpool GmbH &amp; Co. KG part of Montel</a:t>
            </a:r>
            <a:endParaRPr lang="de-DE"/>
          </a:p>
        </p:txBody>
      </p:sp>
      <p:sp>
        <p:nvSpPr>
          <p:cNvPr id="6" name="Foliennummernplatzhalter 15">
            <a:extLst>
              <a:ext uri="{FF2B5EF4-FFF2-40B4-BE49-F238E27FC236}">
                <a16:creationId xmlns:a16="http://schemas.microsoft.com/office/drawing/2014/main" id="{CCBF36CF-6B60-4BDA-9825-8F5F187C585F}"/>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2685649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Datumsplatzhalter 13">
            <a:extLst>
              <a:ext uri="{FF2B5EF4-FFF2-40B4-BE49-F238E27FC236}">
                <a16:creationId xmlns:a16="http://schemas.microsoft.com/office/drawing/2014/main" id="{817AF89F-91EC-09D7-52F9-586E48DF99EA}"/>
              </a:ext>
            </a:extLst>
          </p:cNvPr>
          <p:cNvSpPr>
            <a:spLocks noGrp="1"/>
          </p:cNvSpPr>
          <p:nvPr>
            <p:ph type="dt" sz="half" idx="17"/>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5" name="Fußzeilenplatzhalter 14">
            <a:extLst>
              <a:ext uri="{FF2B5EF4-FFF2-40B4-BE49-F238E27FC236}">
                <a16:creationId xmlns:a16="http://schemas.microsoft.com/office/drawing/2014/main" id="{E88F86D3-2A0B-3A73-5780-5E0DC0FDB793}"/>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6" name="Foliennummernplatzhalter 15">
            <a:extLst>
              <a:ext uri="{FF2B5EF4-FFF2-40B4-BE49-F238E27FC236}">
                <a16:creationId xmlns:a16="http://schemas.microsoft.com/office/drawing/2014/main" id="{CCBF36CF-6B60-4BDA-9825-8F5F187C585F}"/>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161540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638062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23" name="Plassholder for tekst 5">
            <a:extLst>
              <a:ext uri="{FF2B5EF4-FFF2-40B4-BE49-F238E27FC236}">
                <a16:creationId xmlns:a16="http://schemas.microsoft.com/office/drawing/2014/main" id="{95762A28-1FF6-6C25-FB79-F0AF55DE9B3C}"/>
              </a:ext>
            </a:extLst>
          </p:cNvPr>
          <p:cNvSpPr>
            <a:spLocks noGrp="1"/>
          </p:cNvSpPr>
          <p:nvPr>
            <p:ph type="body" sz="quarter" idx="16" hasCustomPrompt="1"/>
          </p:nvPr>
        </p:nvSpPr>
        <p:spPr>
          <a:xfrm>
            <a:off x="959978" y="2072789"/>
            <a:ext cx="6032494"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Datumsplatzhalter 13">
            <a:extLst>
              <a:ext uri="{FF2B5EF4-FFF2-40B4-BE49-F238E27FC236}">
                <a16:creationId xmlns:a16="http://schemas.microsoft.com/office/drawing/2014/main" id="{D400D888-21F6-9582-CCED-62A1EEADA85C}"/>
              </a:ext>
            </a:extLst>
          </p:cNvPr>
          <p:cNvSpPr>
            <a:spLocks noGrp="1"/>
          </p:cNvSpPr>
          <p:nvPr>
            <p:ph type="dt" sz="half" idx="17"/>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4" name="Fußzeilenplatzhalter 14">
            <a:extLst>
              <a:ext uri="{FF2B5EF4-FFF2-40B4-BE49-F238E27FC236}">
                <a16:creationId xmlns:a16="http://schemas.microsoft.com/office/drawing/2014/main" id="{3174314F-5DA0-4E57-B14D-E8D284207285}"/>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6" name="Foliennummernplatzhalter 15">
            <a:extLst>
              <a:ext uri="{FF2B5EF4-FFF2-40B4-BE49-F238E27FC236}">
                <a16:creationId xmlns:a16="http://schemas.microsoft.com/office/drawing/2014/main" id="{042A448F-56C0-0871-EAE1-86DA5513A312}"/>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2838958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fade">
                                      <p:cBhvr>
                                        <p:cTn id="11" dur="500"/>
                                        <p:tgtEl>
                                          <p:spTgt spid="2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3">
                                            <p:txEl>
                                              <p:pRg st="1" end="1"/>
                                            </p:txEl>
                                          </p:spTgt>
                                        </p:tgtEl>
                                        <p:attrNameLst>
                                          <p:attrName>style.visibility</p:attrName>
                                        </p:attrNameLst>
                                      </p:cBhvr>
                                      <p:to>
                                        <p:strVal val="visible"/>
                                      </p:to>
                                    </p:set>
                                    <p:animEffect transition="in" filter="fade">
                                      <p:cBhvr>
                                        <p:cTn id="15" dur="500"/>
                                        <p:tgtEl>
                                          <p:spTgt spid="2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3">
                                            <p:txEl>
                                              <p:pRg st="2" end="2"/>
                                            </p:txEl>
                                          </p:spTgt>
                                        </p:tgtEl>
                                        <p:attrNameLst>
                                          <p:attrName>style.visibility</p:attrName>
                                        </p:attrNameLst>
                                      </p:cBhvr>
                                      <p:to>
                                        <p:strVal val="visible"/>
                                      </p:to>
                                    </p:set>
                                    <p:animEffect transition="in" filter="fade">
                                      <p:cBhvr>
                                        <p:cTn id="19" dur="500"/>
                                        <p:tgtEl>
                                          <p:spTgt spid="2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23" grpId="0" build="p">
        <p:tmplLst>
          <p:tmpl lvl="1">
            <p:tnLst>
              <p:par>
                <p:cTn presetID="10"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Image left - Title + bullets">
    <p:spTree>
      <p:nvGrpSpPr>
        <p:cNvPr id="1" name=""/>
        <p:cNvGrpSpPr/>
        <p:nvPr/>
      </p:nvGrpSpPr>
      <p:grpSpPr>
        <a:xfrm>
          <a:off x="0" y="0"/>
          <a:ext cx="0" cy="0"/>
          <a:chOff x="0" y="0"/>
          <a:chExt cx="0" cy="0"/>
        </a:xfrm>
      </p:grpSpPr>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Picture 4" descr="Icon&#10;&#10;Description automatically generated">
            <a:extLst>
              <a:ext uri="{FF2B5EF4-FFF2-40B4-BE49-F238E27FC236}">
                <a16:creationId xmlns:a16="http://schemas.microsoft.com/office/drawing/2014/main" id="{9E91DBB7-EE17-D492-C5AB-200877B5403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6574B9BB-7178-7D68-8A45-8960B35AFBB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 name="Datumsplatzhalter 13">
            <a:extLst>
              <a:ext uri="{FF2B5EF4-FFF2-40B4-BE49-F238E27FC236}">
                <a16:creationId xmlns:a16="http://schemas.microsoft.com/office/drawing/2014/main" id="{99E5713B-D1E9-EEC4-B74C-A0D44BFF219A}"/>
              </a:ext>
            </a:extLst>
          </p:cNvPr>
          <p:cNvSpPr>
            <a:spLocks noGrp="1"/>
          </p:cNvSpPr>
          <p:nvPr>
            <p:ph type="dt" sz="half" idx="17"/>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3" name="Fußzeilenplatzhalter 14">
            <a:extLst>
              <a:ext uri="{FF2B5EF4-FFF2-40B4-BE49-F238E27FC236}">
                <a16:creationId xmlns:a16="http://schemas.microsoft.com/office/drawing/2014/main" id="{57565D7A-07B1-46DC-0977-10EF89559849}"/>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4" name="Foliennummernplatzhalter 15">
            <a:extLst>
              <a:ext uri="{FF2B5EF4-FFF2-40B4-BE49-F238E27FC236}">
                <a16:creationId xmlns:a16="http://schemas.microsoft.com/office/drawing/2014/main" id="{4E3215E6-8B60-0AF7-83C1-16DE618F42C4}"/>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233112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x Image left - Title + bullets">
    <p:spTree>
      <p:nvGrpSpPr>
        <p:cNvPr id="1" name=""/>
        <p:cNvGrpSpPr/>
        <p:nvPr/>
      </p:nvGrpSpPr>
      <p:grpSpPr>
        <a:xfrm>
          <a:off x="0" y="0"/>
          <a:ext cx="0" cy="0"/>
          <a:chOff x="0" y="0"/>
          <a:chExt cx="0" cy="0"/>
        </a:xfrm>
      </p:grpSpPr>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Picture 4" descr="Icon&#10;&#10;Description automatically generated">
            <a:extLst>
              <a:ext uri="{FF2B5EF4-FFF2-40B4-BE49-F238E27FC236}">
                <a16:creationId xmlns:a16="http://schemas.microsoft.com/office/drawing/2014/main" id="{9E91DBB7-EE17-D492-C5AB-200877B5403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6574B9BB-7178-7D68-8A45-8960B35AFBB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Plassholder for bilde 7">
            <a:extLst>
              <a:ext uri="{FF2B5EF4-FFF2-40B4-BE49-F238E27FC236}">
                <a16:creationId xmlns:a16="http://schemas.microsoft.com/office/drawing/2014/main" id="{047B8122-8719-0A6D-0E9B-0BD93019A832}"/>
              </a:ext>
            </a:extLst>
          </p:cNvPr>
          <p:cNvSpPr>
            <a:spLocks noGrp="1"/>
          </p:cNvSpPr>
          <p:nvPr>
            <p:ph type="pic" sz="quarter" idx="17"/>
          </p:nvPr>
        </p:nvSpPr>
        <p:spPr>
          <a:xfrm>
            <a:off x="0" y="0"/>
            <a:ext cx="4876800" cy="3429000"/>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63A9C5F-FCAC-3F21-93DA-B210C2DA5E78}"/>
              </a:ext>
            </a:extLst>
          </p:cNvPr>
          <p:cNvSpPr>
            <a:spLocks noGrp="1"/>
          </p:cNvSpPr>
          <p:nvPr>
            <p:ph type="pic" sz="quarter" idx="18"/>
          </p:nvPr>
        </p:nvSpPr>
        <p:spPr>
          <a:xfrm>
            <a:off x="0" y="3442914"/>
            <a:ext cx="4876800" cy="3429000"/>
          </a:xfrm>
          <a:prstGeom prst="rect">
            <a:avLst/>
          </a:prstGeom>
        </p:spPr>
        <p:txBody>
          <a:bodyPr/>
          <a:lstStyle/>
          <a:p>
            <a:endParaRPr lang="nb-NO"/>
          </a:p>
        </p:txBody>
      </p:sp>
    </p:spTree>
    <p:extLst>
      <p:ext uri="{BB962C8B-B14F-4D97-AF65-F5344CB8AC3E}">
        <p14:creationId xmlns:p14="http://schemas.microsoft.com/office/powerpoint/2010/main" val="2555961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x 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3429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3" name="Plassholder for tekst 5">
            <a:extLst>
              <a:ext uri="{FF2B5EF4-FFF2-40B4-BE49-F238E27FC236}">
                <a16:creationId xmlns:a16="http://schemas.microsoft.com/office/drawing/2014/main" id="{347F94E1-265F-6BC1-DF23-B351F8D26640}"/>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4D584395-C35C-604C-9DC5-11DB394F088D}"/>
              </a:ext>
            </a:extLst>
          </p:cNvPr>
          <p:cNvSpPr>
            <a:spLocks noGrp="1"/>
          </p:cNvSpPr>
          <p:nvPr>
            <p:ph type="pic" sz="quarter" idx="17"/>
          </p:nvPr>
        </p:nvSpPr>
        <p:spPr>
          <a:xfrm>
            <a:off x="7315200" y="3442914"/>
            <a:ext cx="4876800" cy="3429000"/>
          </a:xfrm>
          <a:prstGeom prst="rect">
            <a:avLst/>
          </a:prstGeom>
        </p:spPr>
        <p:txBody>
          <a:bodyPr/>
          <a:lstStyle/>
          <a:p>
            <a:endParaRPr lang="nb-NO"/>
          </a:p>
        </p:txBody>
      </p:sp>
    </p:spTree>
    <p:extLst>
      <p:ext uri="{BB962C8B-B14F-4D97-AF65-F5344CB8AC3E}">
        <p14:creationId xmlns:p14="http://schemas.microsoft.com/office/powerpoint/2010/main" val="2229280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3" name="Plassholder for tekst 5">
            <a:extLst>
              <a:ext uri="{FF2B5EF4-FFF2-40B4-BE49-F238E27FC236}">
                <a16:creationId xmlns:a16="http://schemas.microsoft.com/office/drawing/2014/main" id="{347F94E1-265F-6BC1-DF23-B351F8D26640}"/>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196552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le + bullets + 3 bubble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8" name="Picture 4" descr="Icon&#10;&#10;Description automatically generated">
            <a:extLst>
              <a:ext uri="{FF2B5EF4-FFF2-40B4-BE49-F238E27FC236}">
                <a16:creationId xmlns:a16="http://schemas.microsoft.com/office/drawing/2014/main" id="{2C58B7FF-12FE-EE6F-C164-E02B733A8955}"/>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9" name="Plassholder for tekst 5">
            <a:extLst>
              <a:ext uri="{FF2B5EF4-FFF2-40B4-BE49-F238E27FC236}">
                <a16:creationId xmlns:a16="http://schemas.microsoft.com/office/drawing/2014/main" id="{B36C8267-DF18-0FEA-67D1-39B13C2350DC}"/>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35410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9" grpId="0" build="p">
        <p:tmplLst>
          <p:tmpl lvl="1">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 bullets + bubble images/color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0"/>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sp>
        <p:nvSpPr>
          <p:cNvPr id="9" name="Plassholder for tekst 5">
            <a:extLst>
              <a:ext uri="{FF2B5EF4-FFF2-40B4-BE49-F238E27FC236}">
                <a16:creationId xmlns:a16="http://schemas.microsoft.com/office/drawing/2014/main" id="{6F3A3404-E977-CFD6-FA6A-A931DD626D42}"/>
              </a:ext>
            </a:extLst>
          </p:cNvPr>
          <p:cNvSpPr>
            <a:spLocks noGrp="1"/>
          </p:cNvSpPr>
          <p:nvPr>
            <p:ph type="body" sz="quarter" idx="16" hasCustomPrompt="1"/>
          </p:nvPr>
        </p:nvSpPr>
        <p:spPr>
          <a:xfrm>
            <a:off x="959978" y="2072789"/>
            <a:ext cx="61642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Picture 4" descr="Icon&#10;&#10;Description automatically generated">
            <a:extLst>
              <a:ext uri="{FF2B5EF4-FFF2-40B4-BE49-F238E27FC236}">
                <a16:creationId xmlns:a16="http://schemas.microsoft.com/office/drawing/2014/main" id="{F5E483AF-5CC4-BBE6-084A-F51B37914E1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1607783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9" grpId="0" build="p">
        <p:tmplLst>
          <p:tmpl lvl="1">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Bullets/Bodytext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10458641"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Tree>
    <p:extLst>
      <p:ext uri="{BB962C8B-B14F-4D97-AF65-F5344CB8AC3E}">
        <p14:creationId xmlns:p14="http://schemas.microsoft.com/office/powerpoint/2010/main" val="2099553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tle + subtitle - green backgroun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BC0A55C6-8A4D-DF9D-1DA6-C64D98C92571}"/>
              </a:ext>
            </a:extLst>
          </p:cNvPr>
          <p:cNvPicPr>
            <a:picLocks noChangeAspect="1"/>
          </p:cNvPicPr>
          <p:nvPr userDrawn="1"/>
        </p:nvPicPr>
        <p:blipFill rotWithShape="1">
          <a:blip r:embed="rId2"/>
          <a:srcRect t="6932"/>
          <a:stretch/>
        </p:blipFill>
        <p:spPr>
          <a:xfrm>
            <a:off x="0" y="0"/>
            <a:ext cx="12262337" cy="6858000"/>
          </a:xfrm>
          <a:prstGeom prst="rect">
            <a:avLst/>
          </a:prstGeom>
        </p:spPr>
      </p:pic>
      <p:grpSp>
        <p:nvGrpSpPr>
          <p:cNvPr id="5" name="Graphic 10">
            <a:extLst>
              <a:ext uri="{FF2B5EF4-FFF2-40B4-BE49-F238E27FC236}">
                <a16:creationId xmlns:a16="http://schemas.microsoft.com/office/drawing/2014/main" id="{FD5784AF-26F9-73A8-0162-44DAEB45C30D}"/>
              </a:ext>
            </a:extLst>
          </p:cNvPr>
          <p:cNvGrpSpPr/>
          <p:nvPr userDrawn="1"/>
        </p:nvGrpSpPr>
        <p:grpSpPr>
          <a:xfrm>
            <a:off x="10156640" y="561169"/>
            <a:ext cx="1498921" cy="256736"/>
            <a:chOff x="1869557" y="3038867"/>
            <a:chExt cx="4569287" cy="782630"/>
          </a:xfrm>
          <a:solidFill>
            <a:schemeClr val="bg1"/>
          </a:solidFill>
        </p:grpSpPr>
        <p:sp>
          <p:nvSpPr>
            <p:cNvPr id="6" name="Freeform: Shape 12">
              <a:extLst>
                <a:ext uri="{FF2B5EF4-FFF2-40B4-BE49-F238E27FC236}">
                  <a16:creationId xmlns:a16="http://schemas.microsoft.com/office/drawing/2014/main" id="{392A124E-C2A9-A2D4-2102-5D014E85032B}"/>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7" name="Freeform: Shape 13">
              <a:extLst>
                <a:ext uri="{FF2B5EF4-FFF2-40B4-BE49-F238E27FC236}">
                  <a16:creationId xmlns:a16="http://schemas.microsoft.com/office/drawing/2014/main" id="{19A32EFA-96B1-A59B-B049-E73D5587AE40}"/>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8" name="Freeform: Shape 14">
              <a:extLst>
                <a:ext uri="{FF2B5EF4-FFF2-40B4-BE49-F238E27FC236}">
                  <a16:creationId xmlns:a16="http://schemas.microsoft.com/office/drawing/2014/main" id="{66000DB6-94F7-CF84-F2C9-18D67E6CE17D}"/>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9" name="Freeform: Shape 15">
              <a:extLst>
                <a:ext uri="{FF2B5EF4-FFF2-40B4-BE49-F238E27FC236}">
                  <a16:creationId xmlns:a16="http://schemas.microsoft.com/office/drawing/2014/main" id="{B325851D-D7DB-A89B-71B6-B11356B0572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E8EBE1A0-4D6B-61D6-64E0-901817BEDB77}"/>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BCAAE52F-9A1A-7B57-637E-E1A538390102}"/>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sp>
        <p:nvSpPr>
          <p:cNvPr id="20" name="Plassholder for tekst 19">
            <a:extLst>
              <a:ext uri="{FF2B5EF4-FFF2-40B4-BE49-F238E27FC236}">
                <a16:creationId xmlns:a16="http://schemas.microsoft.com/office/drawing/2014/main" id="{B56A677A-4599-FE37-6CC6-61F08D43165D}"/>
              </a:ext>
            </a:extLst>
          </p:cNvPr>
          <p:cNvSpPr>
            <a:spLocks noGrp="1"/>
          </p:cNvSpPr>
          <p:nvPr>
            <p:ph type="body" sz="quarter" idx="10"/>
          </p:nvPr>
        </p:nvSpPr>
        <p:spPr>
          <a:xfrm>
            <a:off x="1436071" y="2342928"/>
            <a:ext cx="8471189" cy="1700081"/>
          </a:xfrm>
          <a:prstGeom prst="rect">
            <a:avLst/>
          </a:prstGeom>
        </p:spPr>
        <p:txBody>
          <a:bodyPr anchor="b"/>
          <a:lstStyle>
            <a:lvl1pPr marL="0" indent="0">
              <a:buNone/>
              <a:defRPr sz="5000">
                <a:solidFill>
                  <a:schemeClr val="bg1"/>
                </a:solidFill>
                <a:latin typeface="Haffer" pitchFamily="2" charset="77"/>
                <a:cs typeface="Haffer" pitchFamily="2" charset="77"/>
              </a:defRPr>
            </a:lvl1pPr>
          </a:lstStyle>
          <a:p>
            <a:pPr lvl="0"/>
            <a:r>
              <a:rPr lang="de-DE"/>
              <a:t>Mastertextformat bearbeiten</a:t>
            </a:r>
          </a:p>
          <a:p>
            <a:pPr lvl="1"/>
            <a:r>
              <a:rPr lang="de-DE"/>
              <a:t>Zweite Ebene</a:t>
            </a:r>
          </a:p>
        </p:txBody>
      </p:sp>
      <p:sp>
        <p:nvSpPr>
          <p:cNvPr id="21" name="Plassholder for tekst 19">
            <a:extLst>
              <a:ext uri="{FF2B5EF4-FFF2-40B4-BE49-F238E27FC236}">
                <a16:creationId xmlns:a16="http://schemas.microsoft.com/office/drawing/2014/main" id="{3EB3F4BB-33E8-B7A7-C733-4AC6AA42F6D8}"/>
              </a:ext>
            </a:extLst>
          </p:cNvPr>
          <p:cNvSpPr>
            <a:spLocks noGrp="1"/>
          </p:cNvSpPr>
          <p:nvPr>
            <p:ph type="body" sz="quarter" idx="11" hasCustomPrompt="1"/>
          </p:nvPr>
        </p:nvSpPr>
        <p:spPr>
          <a:xfrm>
            <a:off x="1436071" y="4269969"/>
            <a:ext cx="8471189" cy="1700081"/>
          </a:xfrm>
          <a:prstGeom prst="rect">
            <a:avLst/>
          </a:prstGeom>
        </p:spPr>
        <p:txBody>
          <a:bodyPr anchor="t"/>
          <a:lstStyle>
            <a:lvl1pPr marL="0" indent="0">
              <a:buNone/>
              <a:defRPr sz="2500" b="0" i="0">
                <a:solidFill>
                  <a:schemeClr val="bg1"/>
                </a:solidFill>
                <a:latin typeface="Haffer Light" pitchFamily="2" charset="77"/>
                <a:cs typeface="Haffer Light" pitchFamily="2" charset="77"/>
              </a:defRPr>
            </a:lvl1pPr>
          </a:lstStyle>
          <a:p>
            <a:pPr lvl="0"/>
            <a:r>
              <a:rPr lang="nb-NO" err="1"/>
              <a:t>Subtitle</a:t>
            </a:r>
            <a:endParaRPr lang="nb-NO"/>
          </a:p>
        </p:txBody>
      </p:sp>
    </p:spTree>
    <p:extLst>
      <p:ext uri="{BB962C8B-B14F-4D97-AF65-F5344CB8AC3E}">
        <p14:creationId xmlns:p14="http://schemas.microsoft.com/office/powerpoint/2010/main" val="36440085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Bullets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5051209"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
        <p:nvSpPr>
          <p:cNvPr id="8" name="Plassholder for tekst 5">
            <a:extLst>
              <a:ext uri="{FF2B5EF4-FFF2-40B4-BE49-F238E27FC236}">
                <a16:creationId xmlns:a16="http://schemas.microsoft.com/office/drawing/2014/main" id="{20A947F6-38E2-DF01-3BF5-306544EA81C7}"/>
              </a:ext>
            </a:extLst>
          </p:cNvPr>
          <p:cNvSpPr>
            <a:spLocks noGrp="1"/>
          </p:cNvSpPr>
          <p:nvPr>
            <p:ph type="body" sz="quarter" idx="20" hasCustomPrompt="1"/>
          </p:nvPr>
        </p:nvSpPr>
        <p:spPr>
          <a:xfrm>
            <a:off x="6382766" y="2072790"/>
            <a:ext cx="5051209"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57963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8">
                                            <p:txEl>
                                              <p:pRg st="1" end="1"/>
                                            </p:txEl>
                                          </p:spTgt>
                                        </p:tgtEl>
                                        <p:attrNameLst>
                                          <p:attrName>style.visibility</p:attrName>
                                        </p:attrNameLst>
                                      </p:cBhvr>
                                      <p:to>
                                        <p:strVal val="visible"/>
                                      </p:to>
                                    </p:set>
                                    <p:animEffect transition="in" filter="fade">
                                      <p:cBhvr>
                                        <p:cTn id="27" dur="500"/>
                                        <p:tgtEl>
                                          <p:spTgt spid="8">
                                            <p:txEl>
                                              <p:pRg st="1" end="1"/>
                                            </p:txEl>
                                          </p:spTgt>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8">
                                            <p:txEl>
                                              <p:pRg st="2" end="2"/>
                                            </p:txEl>
                                          </p:spTgt>
                                        </p:tgtEl>
                                        <p:attrNameLst>
                                          <p:attrName>style.visibility</p:attrName>
                                        </p:attrNameLst>
                                      </p:cBhvr>
                                      <p:to>
                                        <p:strVal val="visible"/>
                                      </p:to>
                                    </p:set>
                                    <p:animEffect transition="in" filter="fade">
                                      <p:cBhvr>
                                        <p:cTn id="31"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8" grpId="0" uiExpand="1"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ullscreen imag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6858000"/>
          </a:xfrm>
          <a:prstGeom prst="rect">
            <a:avLst/>
          </a:prstGeom>
        </p:spPr>
        <p:txBody>
          <a:bodyPr/>
          <a:lstStyle/>
          <a:p>
            <a:endParaRPr lang="nb-NO"/>
          </a:p>
        </p:txBody>
      </p:sp>
    </p:spTree>
    <p:extLst>
      <p:ext uri="{BB962C8B-B14F-4D97-AF65-F5344CB8AC3E}">
        <p14:creationId xmlns:p14="http://schemas.microsoft.com/office/powerpoint/2010/main" val="28556636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width image with title bottom">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5836024"/>
          </a:xfrm>
          <a:prstGeom prst="rect">
            <a:avLst/>
          </a:prstGeom>
        </p:spPr>
        <p:txBody>
          <a:bodyPr/>
          <a:lstStyle/>
          <a:p>
            <a:endParaRPr lang="nb-NO"/>
          </a:p>
        </p:txBody>
      </p:sp>
      <p:sp>
        <p:nvSpPr>
          <p:cNvPr id="10" name="Plassholder for tekst 19">
            <a:extLst>
              <a:ext uri="{FF2B5EF4-FFF2-40B4-BE49-F238E27FC236}">
                <a16:creationId xmlns:a16="http://schemas.microsoft.com/office/drawing/2014/main" id="{A5F22576-6EE2-6F1D-BCEB-76166C1B4C77}"/>
              </a:ext>
            </a:extLst>
          </p:cNvPr>
          <p:cNvSpPr>
            <a:spLocks noGrp="1"/>
          </p:cNvSpPr>
          <p:nvPr>
            <p:ph type="body" sz="quarter" idx="11" hasCustomPrompt="1"/>
          </p:nvPr>
        </p:nvSpPr>
        <p:spPr>
          <a:xfrm>
            <a:off x="499110" y="6045761"/>
            <a:ext cx="11132596" cy="602925"/>
          </a:xfrm>
          <a:prstGeom prst="rect">
            <a:avLst/>
          </a:prstGeom>
        </p:spPr>
        <p:txBody>
          <a:bodyPr anchor="b"/>
          <a:lstStyle>
            <a:lvl1pPr marL="0" indent="0">
              <a:lnSpc>
                <a:spcPts val="3800"/>
              </a:lnSpc>
              <a:buNone/>
              <a:defRPr sz="3000">
                <a:solidFill>
                  <a:srgbClr val="022E33"/>
                </a:solidFill>
                <a:latin typeface="Haffer" pitchFamily="2" charset="77"/>
                <a:cs typeface="Haffer" pitchFamily="2" charset="77"/>
              </a:defRPr>
            </a:lvl1pPr>
          </a:lstStyle>
          <a:p>
            <a:pPr lvl="0"/>
            <a:r>
              <a:rPr lang="nb-NO" err="1"/>
              <a:t>Title</a:t>
            </a:r>
            <a:endParaRPr lang="nb-NO"/>
          </a:p>
        </p:txBody>
      </p:sp>
    </p:spTree>
    <p:extLst>
      <p:ext uri="{BB962C8B-B14F-4D97-AF65-F5344CB8AC3E}">
        <p14:creationId xmlns:p14="http://schemas.microsoft.com/office/powerpoint/2010/main" val="107413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Titel-kein Inhalt">
    <p:spTree>
      <p:nvGrpSpPr>
        <p:cNvPr id="1" name=""/>
        <p:cNvGrpSpPr/>
        <p:nvPr/>
      </p:nvGrpSpPr>
      <p:grpSpPr>
        <a:xfrm>
          <a:off x="0" y="0"/>
          <a:ext cx="0" cy="0"/>
          <a:chOff x="0" y="0"/>
          <a:chExt cx="0" cy="0"/>
        </a:xfrm>
      </p:grpSpPr>
      <p:sp>
        <p:nvSpPr>
          <p:cNvPr id="3" name="Rechteck 2"/>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4" name="Rechteck 3"/>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2"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11" name="Datumsplatzhalter 13"/>
          <p:cNvSpPr>
            <a:spLocks noGrp="1"/>
          </p:cNvSpPr>
          <p:nvPr>
            <p:ph type="dt" sz="half" idx="16"/>
          </p:nvPr>
        </p:nvSpPr>
        <p:spPr>
          <a:xfrm>
            <a:off x="719403" y="6356351"/>
            <a:ext cx="1680897" cy="365125"/>
          </a:xfrm>
          <a:prstGeom prst="rect">
            <a:avLst/>
          </a:prstGeom>
        </p:spPr>
        <p:txBody>
          <a:bodyPr lIns="0"/>
          <a:lstStyle>
            <a:lvl1pPr>
              <a:defRPr sz="950" smtClean="0">
                <a:solidFill>
                  <a:schemeClr val="bg1">
                    <a:lumMod val="50000"/>
                  </a:schemeClr>
                </a:solidFill>
                <a:latin typeface="+mn-lt"/>
              </a:defRPr>
            </a:lvl1pPr>
          </a:lstStyle>
          <a:p>
            <a:pPr>
              <a:defRPr/>
            </a:pPr>
            <a:fld id="{3781059F-79A8-4E67-80D1-21B645F37C1C}" type="datetime1">
              <a:rPr lang="de-DE" smtClean="0"/>
              <a:t>09.02.2025</a:t>
            </a:fld>
            <a:endParaRPr lang="de-DE" dirty="0"/>
          </a:p>
        </p:txBody>
      </p:sp>
      <p:sp>
        <p:nvSpPr>
          <p:cNvPr id="13" name="Fußzeilenplatzhalter 14"/>
          <p:cNvSpPr>
            <a:spLocks noGrp="1"/>
          </p:cNvSpPr>
          <p:nvPr>
            <p:ph type="ftr" sz="quarter" idx="17"/>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Energy Brainpool GmbH &amp; Co. KG</a:t>
            </a:r>
            <a:endParaRPr lang="de-DE" dirty="0"/>
          </a:p>
        </p:txBody>
      </p:sp>
      <p:sp>
        <p:nvSpPr>
          <p:cNvPr id="14"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15" name="Rechteck 14"/>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16"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2" name="Picture 4" descr="Icon&#10;&#10;Description automatically generated">
            <a:extLst>
              <a:ext uri="{FF2B5EF4-FFF2-40B4-BE49-F238E27FC236}">
                <a16:creationId xmlns:a16="http://schemas.microsoft.com/office/drawing/2014/main" id="{5A3E7C40-E0D6-FE0F-7038-82973A0D59E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072976" y="100480"/>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30591189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7" y="1988502"/>
            <a:ext cx="3360000"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3"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sp>
        <p:nvSpPr>
          <p:cNvPr id="14" name="Inhaltsplatzhalter 4"/>
          <p:cNvSpPr>
            <a:spLocks noGrp="1"/>
          </p:cNvSpPr>
          <p:nvPr>
            <p:ph sz="quarter" idx="21"/>
          </p:nvPr>
        </p:nvSpPr>
        <p:spPr>
          <a:xfrm>
            <a:off x="4409624" y="1988502"/>
            <a:ext cx="3360000"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3"/>
          <p:cNvSpPr>
            <a:spLocks noGrp="1"/>
          </p:cNvSpPr>
          <p:nvPr>
            <p:ph type="body" sz="quarter" idx="22"/>
          </p:nvPr>
        </p:nvSpPr>
        <p:spPr>
          <a:xfrm>
            <a:off x="44096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sp>
        <p:nvSpPr>
          <p:cNvPr id="16" name="Inhaltsplatzhalter 4"/>
          <p:cNvSpPr>
            <a:spLocks noGrp="1"/>
          </p:cNvSpPr>
          <p:nvPr>
            <p:ph sz="quarter" idx="23"/>
          </p:nvPr>
        </p:nvSpPr>
        <p:spPr>
          <a:xfrm>
            <a:off x="8112224" y="1988502"/>
            <a:ext cx="3360000"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Textplatzhalter 3"/>
          <p:cNvSpPr>
            <a:spLocks noGrp="1"/>
          </p:cNvSpPr>
          <p:nvPr>
            <p:ph type="body" sz="quarter" idx="24"/>
          </p:nvPr>
        </p:nvSpPr>
        <p:spPr>
          <a:xfrm>
            <a:off x="81122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sp>
        <p:nvSpPr>
          <p:cNvPr id="19" name="Datumsplatzhalter 13"/>
          <p:cNvSpPr>
            <a:spLocks noGrp="1"/>
          </p:cNvSpPr>
          <p:nvPr>
            <p:ph type="dt" sz="half" idx="16"/>
          </p:nvPr>
        </p:nvSpPr>
        <p:spPr>
          <a:xfrm>
            <a:off x="719403" y="6356351"/>
            <a:ext cx="1680897" cy="365125"/>
          </a:xfrm>
          <a:prstGeom prst="rect">
            <a:avLst/>
          </a:prstGeom>
        </p:spPr>
        <p:txBody>
          <a:bodyPr lIns="0"/>
          <a:lstStyle>
            <a:lvl1pPr>
              <a:defRPr sz="950" smtClean="0">
                <a:solidFill>
                  <a:schemeClr val="bg1">
                    <a:lumMod val="50000"/>
                  </a:schemeClr>
                </a:solidFill>
                <a:latin typeface="+mn-lt"/>
              </a:defRPr>
            </a:lvl1pPr>
          </a:lstStyle>
          <a:p>
            <a:pPr>
              <a:defRPr/>
            </a:pPr>
            <a:fld id="{A97A562D-7CA3-4CA2-8155-457248F2BBF6}" type="datetime1">
              <a:rPr lang="de-DE" smtClean="0"/>
              <a:t>09.02.2025</a:t>
            </a:fld>
            <a:endParaRPr lang="de-DE" dirty="0"/>
          </a:p>
        </p:txBody>
      </p:sp>
      <p:sp>
        <p:nvSpPr>
          <p:cNvPr id="20" name="Fußzeilenplatzhalter 14"/>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Energy Brainpool GmbH &amp; Co. KG</a:t>
            </a:r>
            <a:endParaRPr lang="de-DE" dirty="0"/>
          </a:p>
        </p:txBody>
      </p:sp>
      <p:sp>
        <p:nvSpPr>
          <p:cNvPr id="21"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23" name="Rechteck 22"/>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4"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2" name="Picture 4" descr="Icon&#10;&#10;Description automatically generated">
            <a:extLst>
              <a:ext uri="{FF2B5EF4-FFF2-40B4-BE49-F238E27FC236}">
                <a16:creationId xmlns:a16="http://schemas.microsoft.com/office/drawing/2014/main" id="{A7966986-1380-F106-45C4-952D1434EEC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072976" y="100480"/>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32680082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el, Inhalt, Zwischenueberschrift">
    <p:spTree>
      <p:nvGrpSpPr>
        <p:cNvPr id="1" name=""/>
        <p:cNvGrpSpPr/>
        <p:nvPr/>
      </p:nvGrpSpPr>
      <p:grpSpPr>
        <a:xfrm>
          <a:off x="0" y="0"/>
          <a:ext cx="0" cy="0"/>
          <a:chOff x="0" y="0"/>
          <a:chExt cx="0" cy="0"/>
        </a:xfrm>
      </p:grpSpPr>
      <p:sp>
        <p:nvSpPr>
          <p:cNvPr id="17" name="Rechteck 16"/>
          <p:cNvSpPr/>
          <p:nvPr userDrawn="1"/>
        </p:nvSpPr>
        <p:spPr>
          <a:xfrm flipV="1">
            <a:off x="0" y="539673"/>
            <a:ext cx="12192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Datumsplatzhalter 13"/>
          <p:cNvSpPr>
            <a:spLocks noGrp="1"/>
          </p:cNvSpPr>
          <p:nvPr>
            <p:ph type="dt" sz="half" idx="10"/>
          </p:nvPr>
        </p:nvSpPr>
        <p:spPr>
          <a:xfrm>
            <a:off x="565482" y="6356351"/>
            <a:ext cx="1069909" cy="365125"/>
          </a:xfrm>
          <a:prstGeom prst="rect">
            <a:avLst/>
          </a:prstGeom>
        </p:spPr>
        <p:txBody>
          <a:bodyPr/>
          <a:lstStyle>
            <a:lvl1pPr>
              <a:defRPr sz="950">
                <a:solidFill>
                  <a:schemeClr val="bg1">
                    <a:lumMod val="50000"/>
                  </a:schemeClr>
                </a:solidFill>
                <a:latin typeface="+mn-lt"/>
              </a:defRPr>
            </a:lvl1pPr>
          </a:lstStyle>
          <a:p>
            <a:r>
              <a:rPr lang="de-DE"/>
              <a:t>02.03.2017</a:t>
            </a:r>
            <a:endParaRPr lang="de-DE" dirty="0"/>
          </a:p>
        </p:txBody>
      </p:sp>
      <p:sp>
        <p:nvSpPr>
          <p:cNvPr id="15" name="Fußzeilenplatzhalter 14"/>
          <p:cNvSpPr>
            <a:spLocks noGrp="1"/>
          </p:cNvSpPr>
          <p:nvPr>
            <p:ph type="ftr" sz="quarter" idx="11"/>
          </p:nvPr>
        </p:nvSpPr>
        <p:spPr>
          <a:xfrm>
            <a:off x="2399590" y="6356351"/>
            <a:ext cx="7392821" cy="365125"/>
          </a:xfrm>
          <a:prstGeom prst="rect">
            <a:avLst/>
          </a:prstGeom>
        </p:spPr>
        <p:txBody>
          <a:bodyPr/>
          <a:lstStyle>
            <a:lvl1pPr algn="ctr">
              <a:defRPr sz="950">
                <a:solidFill>
                  <a:schemeClr val="bg1">
                    <a:lumMod val="50000"/>
                  </a:schemeClr>
                </a:solidFill>
                <a:latin typeface="+mn-lt"/>
              </a:defRPr>
            </a:lvl1pPr>
          </a:lstStyle>
          <a:p>
            <a:r>
              <a:rPr lang="de-DE"/>
              <a:t>Tobias Federico</a:t>
            </a:r>
            <a:endParaRPr lang="de-DE" dirty="0"/>
          </a:p>
        </p:txBody>
      </p:sp>
      <p:sp>
        <p:nvSpPr>
          <p:cNvPr id="16" name="Foliennummernplatzhalter 15"/>
          <p:cNvSpPr>
            <a:spLocks noGrp="1"/>
          </p:cNvSpPr>
          <p:nvPr>
            <p:ph type="sldNum" sz="quarter" idx="12"/>
          </p:nvPr>
        </p:nvSpPr>
        <p:spPr>
          <a:xfrm>
            <a:off x="10992543" y="6356351"/>
            <a:ext cx="602556" cy="365125"/>
          </a:xfrm>
          <a:prstGeom prst="rect">
            <a:avLst/>
          </a:prstGeom>
        </p:spPr>
        <p:txBody>
          <a:bodyPr/>
          <a:lstStyle>
            <a:lvl1pPr>
              <a:defRPr sz="950">
                <a:solidFill>
                  <a:schemeClr val="bg1">
                    <a:lumMod val="50000"/>
                  </a:schemeClr>
                </a:solidFill>
                <a:latin typeface="+mn-lt"/>
              </a:defRPr>
            </a:lvl1pPr>
          </a:lstStyle>
          <a:p>
            <a:fld id="{B7F6052C-4AB4-4EAD-9E30-9753CD4E3464}" type="slidenum">
              <a:rPr lang="de-DE" smtClean="0"/>
              <a:pPr/>
              <a:t>‹#›</a:t>
            </a:fld>
            <a:endParaRPr lang="de-DE"/>
          </a:p>
        </p:txBody>
      </p:sp>
      <p:sp>
        <p:nvSpPr>
          <p:cNvPr id="18" name="Rechteck 17"/>
          <p:cNvSpPr/>
          <p:nvPr userDrawn="1"/>
        </p:nvSpPr>
        <p:spPr>
          <a:xfrm>
            <a:off x="0" y="503675"/>
            <a:ext cx="12192000" cy="3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Titelplatzhalter 1"/>
          <p:cNvSpPr>
            <a:spLocks noGrp="1"/>
          </p:cNvSpPr>
          <p:nvPr>
            <p:ph type="title"/>
          </p:nvPr>
        </p:nvSpPr>
        <p:spPr bwMode="auto">
          <a:xfrm>
            <a:off x="573563" y="692696"/>
            <a:ext cx="11040149"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573585" y="1988840"/>
            <a:ext cx="11042649"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hasCustomPrompt="1"/>
          </p:nvPr>
        </p:nvSpPr>
        <p:spPr>
          <a:xfrm>
            <a:off x="573584" y="1629138"/>
            <a:ext cx="110448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285750" indent="-285750">
              <a:buNone/>
              <a:defRPr lang="de-DE" dirty="0">
                <a:solidFill>
                  <a:schemeClr val="bg1"/>
                </a:solidFill>
              </a:defRPr>
            </a:lvl1pPr>
          </a:lstStyle>
          <a:p>
            <a:pPr marL="0" lvl="0" indent="0">
              <a:spcBef>
                <a:spcPts val="400"/>
              </a:spcBef>
              <a:spcAft>
                <a:spcPts val="100"/>
              </a:spcAft>
            </a:pPr>
            <a:r>
              <a:rPr lang="de-DE" dirty="0"/>
              <a:t>Zwischenüberschrift</a:t>
            </a:r>
          </a:p>
        </p:txBody>
      </p:sp>
      <p:sp>
        <p:nvSpPr>
          <p:cNvPr id="26" name="Rechteck 25"/>
          <p:cNvSpPr/>
          <p:nvPr userDrawn="1"/>
        </p:nvSpPr>
        <p:spPr>
          <a:xfrm rot="16200000" flipH="1">
            <a:off x="6080715" y="824738"/>
            <a:ext cx="18000" cy="11040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50">
              <a:solidFill>
                <a:schemeClr val="bg1">
                  <a:lumMod val="50000"/>
                </a:schemeClr>
              </a:solidFill>
              <a:latin typeface="+mn-lt"/>
            </a:endParaRPr>
          </a:p>
        </p:txBody>
      </p:sp>
      <p:pic>
        <p:nvPicPr>
          <p:cNvPr id="2" name="Picture 4" descr="Icon&#10;&#10;Description automatically generated">
            <a:extLst>
              <a:ext uri="{FF2B5EF4-FFF2-40B4-BE49-F238E27FC236}">
                <a16:creationId xmlns:a16="http://schemas.microsoft.com/office/drawing/2014/main" id="{72B238BD-662F-C386-86E8-DD984CC1B10F}"/>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072976" y="100480"/>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4767212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4" name="Rechteck 3"/>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5" name="Rechteck 4"/>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2"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19" name="Inhaltsplatzhalter 4"/>
          <p:cNvSpPr>
            <a:spLocks noGrp="1"/>
          </p:cNvSpPr>
          <p:nvPr>
            <p:ph sz="quarter" idx="15"/>
          </p:nvPr>
        </p:nvSpPr>
        <p:spPr>
          <a:xfrm>
            <a:off x="719667" y="1628775"/>
            <a:ext cx="10752667" cy="4536777"/>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fld id="{A9D0D756-4B5C-4EB9-980F-268397F879A6}" type="datetime1">
              <a:rPr lang="de-DE" smtClean="0"/>
              <a:t>09.02.2025</a:t>
            </a:fld>
            <a:endParaRPr lang="de-DE" dirty="0"/>
          </a:p>
        </p:txBody>
      </p:sp>
      <p:sp>
        <p:nvSpPr>
          <p:cNvPr id="9" name="Fußzeilenplatzhalter 14"/>
          <p:cNvSpPr>
            <a:spLocks noGrp="1"/>
          </p:cNvSpPr>
          <p:nvPr>
            <p:ph type="ftr" sz="quarter" idx="17"/>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2 Energy Brainpool GmbH &amp; Co. KG</a:t>
            </a:r>
            <a:endParaRPr lang="de-DE" dirty="0"/>
          </a:p>
        </p:txBody>
      </p:sp>
      <p:sp>
        <p:nvSpPr>
          <p:cNvPr id="10"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dirty="0"/>
          </a:p>
        </p:txBody>
      </p:sp>
      <p:sp>
        <p:nvSpPr>
          <p:cNvPr id="11" name="Rechteck 10"/>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3"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2" name="Picture 4" descr="Icon&#10;&#10;Description automatically generated">
            <a:extLst>
              <a:ext uri="{FF2B5EF4-FFF2-40B4-BE49-F238E27FC236}">
                <a16:creationId xmlns:a16="http://schemas.microsoft.com/office/drawing/2014/main" id="{9C1BA0C5-F81A-723F-A8F4-0C3BEF5AE9DE}"/>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072976" y="100480"/>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4445409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10174287" cy="4096733"/>
          </a:xfrm>
          <a:prstGeom prst="rect">
            <a:avLst/>
          </a:prstGeom>
        </p:spPr>
        <p:txBody>
          <a:bodyPr/>
          <a:lstStyle>
            <a:lvl1pPr marL="0" indent="0">
              <a:buNone/>
              <a:defRPr/>
            </a:lvl1pPr>
          </a:lstStyle>
          <a:p>
            <a:pPr lvl="0"/>
            <a:r>
              <a:rPr lang="nb-NO" err="1"/>
              <a:t>Table</a:t>
            </a:r>
            <a:r>
              <a:rPr lang="nb-NO"/>
              <a:t>/diagram slide</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tx2"/>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1272054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phics 1 light">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rgbClr val="022E33"/>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5" name="Plassholder for tekst 14">
            <a:extLst>
              <a:ext uri="{FF2B5EF4-FFF2-40B4-BE49-F238E27FC236}">
                <a16:creationId xmlns:a16="http://schemas.microsoft.com/office/drawing/2014/main" id="{3127F087-7F5B-7F3B-1E63-D9EA3730F18B}"/>
              </a:ext>
            </a:extLst>
          </p:cNvPr>
          <p:cNvSpPr>
            <a:spLocks noGrp="1"/>
          </p:cNvSpPr>
          <p:nvPr>
            <p:ph type="body" sz="quarter" idx="13" hasCustomPrompt="1"/>
          </p:nvPr>
        </p:nvSpPr>
        <p:spPr>
          <a:xfrm>
            <a:off x="5039359" y="209830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6" name="Plassholder for tekst 14">
            <a:extLst>
              <a:ext uri="{FF2B5EF4-FFF2-40B4-BE49-F238E27FC236}">
                <a16:creationId xmlns:a16="http://schemas.microsoft.com/office/drawing/2014/main" id="{9D4561B3-C82B-5912-800B-8E10D1C407DD}"/>
              </a:ext>
            </a:extLst>
          </p:cNvPr>
          <p:cNvSpPr>
            <a:spLocks noGrp="1"/>
          </p:cNvSpPr>
          <p:nvPr>
            <p:ph type="body" sz="quarter" idx="14" hasCustomPrompt="1"/>
          </p:nvPr>
        </p:nvSpPr>
        <p:spPr>
          <a:xfrm>
            <a:off x="5007012" y="5444513"/>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7" name="Plassholder for tekst 14">
            <a:extLst>
              <a:ext uri="{FF2B5EF4-FFF2-40B4-BE49-F238E27FC236}">
                <a16:creationId xmlns:a16="http://schemas.microsoft.com/office/drawing/2014/main" id="{69D9C83F-87D3-BB04-36C0-B11758A403A0}"/>
              </a:ext>
            </a:extLst>
          </p:cNvPr>
          <p:cNvSpPr>
            <a:spLocks noGrp="1"/>
          </p:cNvSpPr>
          <p:nvPr>
            <p:ph type="body" sz="quarter" idx="15" hasCustomPrompt="1"/>
          </p:nvPr>
        </p:nvSpPr>
        <p:spPr>
          <a:xfrm>
            <a:off x="2986442" y="428698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8" name="Plassholder for tekst 14">
            <a:extLst>
              <a:ext uri="{FF2B5EF4-FFF2-40B4-BE49-F238E27FC236}">
                <a16:creationId xmlns:a16="http://schemas.microsoft.com/office/drawing/2014/main" id="{4DCC6BE3-DE2A-4CE0-5212-7920B4C93808}"/>
              </a:ext>
            </a:extLst>
          </p:cNvPr>
          <p:cNvSpPr>
            <a:spLocks noGrp="1"/>
          </p:cNvSpPr>
          <p:nvPr>
            <p:ph type="body" sz="quarter" idx="16" hasCustomPrompt="1"/>
          </p:nvPr>
        </p:nvSpPr>
        <p:spPr>
          <a:xfrm>
            <a:off x="2986442" y="3270984"/>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9" name="Plassholder for tekst 14">
            <a:extLst>
              <a:ext uri="{FF2B5EF4-FFF2-40B4-BE49-F238E27FC236}">
                <a16:creationId xmlns:a16="http://schemas.microsoft.com/office/drawing/2014/main" id="{42F09E14-4DC2-4E22-D1BB-D94C1B66E876}"/>
              </a:ext>
            </a:extLst>
          </p:cNvPr>
          <p:cNvSpPr>
            <a:spLocks noGrp="1"/>
          </p:cNvSpPr>
          <p:nvPr>
            <p:ph type="body" sz="quarter" idx="17" hasCustomPrompt="1"/>
          </p:nvPr>
        </p:nvSpPr>
        <p:spPr>
          <a:xfrm>
            <a:off x="7059332" y="3270984"/>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0" name="Plassholder for tekst 14">
            <a:extLst>
              <a:ext uri="{FF2B5EF4-FFF2-40B4-BE49-F238E27FC236}">
                <a16:creationId xmlns:a16="http://schemas.microsoft.com/office/drawing/2014/main" id="{608EA897-11A2-9A4F-A755-E59603E31F05}"/>
              </a:ext>
            </a:extLst>
          </p:cNvPr>
          <p:cNvSpPr>
            <a:spLocks noGrp="1"/>
          </p:cNvSpPr>
          <p:nvPr>
            <p:ph type="body" sz="quarter" idx="18" hasCustomPrompt="1"/>
          </p:nvPr>
        </p:nvSpPr>
        <p:spPr>
          <a:xfrm>
            <a:off x="7059332" y="429714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1" name="Plassholder for tekst 14">
            <a:extLst>
              <a:ext uri="{FF2B5EF4-FFF2-40B4-BE49-F238E27FC236}">
                <a16:creationId xmlns:a16="http://schemas.microsoft.com/office/drawing/2014/main" id="{CA41BE10-96DA-069F-ECFF-BFACFC814C27}"/>
              </a:ext>
            </a:extLst>
          </p:cNvPr>
          <p:cNvSpPr>
            <a:spLocks noGrp="1"/>
          </p:cNvSpPr>
          <p:nvPr>
            <p:ph type="body" sz="quarter" idx="19" hasCustomPrompt="1"/>
          </p:nvPr>
        </p:nvSpPr>
        <p:spPr>
          <a:xfrm>
            <a:off x="435012" y="3727340"/>
            <a:ext cx="2386800" cy="756875"/>
          </a:xfrm>
          <a:prstGeom prst="roundRect">
            <a:avLst/>
          </a:prstGeom>
          <a:solidFill>
            <a:schemeClr val="accent2"/>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2" name="Plassholder for tekst 14">
            <a:extLst>
              <a:ext uri="{FF2B5EF4-FFF2-40B4-BE49-F238E27FC236}">
                <a16:creationId xmlns:a16="http://schemas.microsoft.com/office/drawing/2014/main" id="{5D25C683-7829-FED0-9A95-30CBA15C526F}"/>
              </a:ext>
            </a:extLst>
          </p:cNvPr>
          <p:cNvSpPr>
            <a:spLocks noGrp="1"/>
          </p:cNvSpPr>
          <p:nvPr>
            <p:ph type="body" sz="quarter" idx="20" hasCustomPrompt="1"/>
          </p:nvPr>
        </p:nvSpPr>
        <p:spPr>
          <a:xfrm>
            <a:off x="9594129" y="3727340"/>
            <a:ext cx="2386800" cy="756875"/>
          </a:xfrm>
          <a:prstGeom prst="roundRect">
            <a:avLst/>
          </a:prstGeom>
          <a:solidFill>
            <a:schemeClr val="accent2"/>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48" name="Plassholder for tekst 46">
            <a:extLst>
              <a:ext uri="{FF2B5EF4-FFF2-40B4-BE49-F238E27FC236}">
                <a16:creationId xmlns:a16="http://schemas.microsoft.com/office/drawing/2014/main" id="{F5FF7358-D3E0-9FA0-520B-4688DB0CB5C4}"/>
              </a:ext>
            </a:extLst>
          </p:cNvPr>
          <p:cNvSpPr>
            <a:spLocks noGrp="1"/>
          </p:cNvSpPr>
          <p:nvPr>
            <p:ph type="body" sz="quarter" idx="26" hasCustomPrompt="1"/>
          </p:nvPr>
        </p:nvSpPr>
        <p:spPr>
          <a:xfrm>
            <a:off x="5274613" y="4088036"/>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0" name="Plassholder for tekst 46">
            <a:extLst>
              <a:ext uri="{FF2B5EF4-FFF2-40B4-BE49-F238E27FC236}">
                <a16:creationId xmlns:a16="http://schemas.microsoft.com/office/drawing/2014/main" id="{ED2AFA19-C59B-BC26-1B37-5EEE6F7BA407}"/>
              </a:ext>
            </a:extLst>
          </p:cNvPr>
          <p:cNvSpPr>
            <a:spLocks noGrp="1"/>
          </p:cNvSpPr>
          <p:nvPr>
            <p:ph type="body" sz="quarter" idx="27" hasCustomPrompt="1"/>
          </p:nvPr>
        </p:nvSpPr>
        <p:spPr>
          <a:xfrm flipV="1">
            <a:off x="5274613" y="3504229"/>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7" name="Plassholder for tekst 56">
            <a:extLst>
              <a:ext uri="{FF2B5EF4-FFF2-40B4-BE49-F238E27FC236}">
                <a16:creationId xmlns:a16="http://schemas.microsoft.com/office/drawing/2014/main" id="{937C2E78-5978-DF87-32CF-17848D80E2C7}"/>
              </a:ext>
            </a:extLst>
          </p:cNvPr>
          <p:cNvSpPr>
            <a:spLocks noGrp="1"/>
          </p:cNvSpPr>
          <p:nvPr>
            <p:ph type="body" sz="quarter" idx="28" hasCustomPrompt="1"/>
          </p:nvPr>
        </p:nvSpPr>
        <p:spPr>
          <a:xfrm>
            <a:off x="2821813" y="4088036"/>
            <a:ext cx="2921974"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58" name="Plassholder for tekst 46">
            <a:extLst>
              <a:ext uri="{FF2B5EF4-FFF2-40B4-BE49-F238E27FC236}">
                <a16:creationId xmlns:a16="http://schemas.microsoft.com/office/drawing/2014/main" id="{A6BF029E-F839-F21B-24A5-1EB9EA877301}"/>
              </a:ext>
            </a:extLst>
          </p:cNvPr>
          <p:cNvSpPr>
            <a:spLocks noGrp="1"/>
          </p:cNvSpPr>
          <p:nvPr>
            <p:ph type="body" sz="quarter" idx="29" hasCustomPrompt="1"/>
          </p:nvPr>
        </p:nvSpPr>
        <p:spPr>
          <a:xfrm flipH="1">
            <a:off x="6664761" y="4092074"/>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9" name="Plassholder for tekst 46">
            <a:extLst>
              <a:ext uri="{FF2B5EF4-FFF2-40B4-BE49-F238E27FC236}">
                <a16:creationId xmlns:a16="http://schemas.microsoft.com/office/drawing/2014/main" id="{D50AFF4C-EDA1-4244-7E4D-9119B33CA93D}"/>
              </a:ext>
            </a:extLst>
          </p:cNvPr>
          <p:cNvSpPr>
            <a:spLocks noGrp="1"/>
          </p:cNvSpPr>
          <p:nvPr>
            <p:ph type="body" sz="quarter" idx="30" hasCustomPrompt="1"/>
          </p:nvPr>
        </p:nvSpPr>
        <p:spPr>
          <a:xfrm flipH="1" flipV="1">
            <a:off x="6664761" y="3508267"/>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60" name="Plassholder for tekst 56">
            <a:extLst>
              <a:ext uri="{FF2B5EF4-FFF2-40B4-BE49-F238E27FC236}">
                <a16:creationId xmlns:a16="http://schemas.microsoft.com/office/drawing/2014/main" id="{A6B3452B-D249-8F85-DDE1-224992981260}"/>
              </a:ext>
            </a:extLst>
          </p:cNvPr>
          <p:cNvSpPr>
            <a:spLocks noGrp="1"/>
          </p:cNvSpPr>
          <p:nvPr>
            <p:ph type="body" sz="quarter" idx="31" hasCustomPrompt="1"/>
          </p:nvPr>
        </p:nvSpPr>
        <p:spPr>
          <a:xfrm flipH="1">
            <a:off x="6674459" y="4092074"/>
            <a:ext cx="2919669"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23" name="Plassholder for tekst 14">
            <a:extLst>
              <a:ext uri="{FF2B5EF4-FFF2-40B4-BE49-F238E27FC236}">
                <a16:creationId xmlns:a16="http://schemas.microsoft.com/office/drawing/2014/main" id="{F983920B-911C-1317-51A0-9DAFDFC53ABF}"/>
              </a:ext>
            </a:extLst>
          </p:cNvPr>
          <p:cNvSpPr>
            <a:spLocks noGrp="1"/>
          </p:cNvSpPr>
          <p:nvPr>
            <p:ph type="body" sz="quarter" idx="21" hasCustomPrompt="1"/>
          </p:nvPr>
        </p:nvSpPr>
        <p:spPr>
          <a:xfrm>
            <a:off x="5694900" y="3639706"/>
            <a:ext cx="1037002" cy="1037002"/>
          </a:xfrm>
          <a:prstGeom prst="ellipse">
            <a:avLst/>
          </a:prstGeom>
          <a:solidFill>
            <a:schemeClr val="accent4"/>
          </a:solidFill>
        </p:spPr>
        <p:txBody>
          <a:bodyPr anchor="ctr"/>
          <a:lstStyle>
            <a:lvl1pPr marL="0" indent="0" algn="ctr">
              <a:buFontTx/>
              <a:buNone/>
              <a:defRPr sz="1400" b="0" i="0">
                <a:solidFill>
                  <a:schemeClr val="tx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err="1"/>
              <a:t>Title</a:t>
            </a:r>
            <a:endParaRPr lang="nb-NO"/>
          </a:p>
        </p:txBody>
      </p:sp>
      <p:sp>
        <p:nvSpPr>
          <p:cNvPr id="62" name="Plassholder for tekst 56">
            <a:extLst>
              <a:ext uri="{FF2B5EF4-FFF2-40B4-BE49-F238E27FC236}">
                <a16:creationId xmlns:a16="http://schemas.microsoft.com/office/drawing/2014/main" id="{CE8D23F3-6671-5574-B7AC-17A123158976}"/>
              </a:ext>
            </a:extLst>
          </p:cNvPr>
          <p:cNvSpPr>
            <a:spLocks noGrp="1"/>
          </p:cNvSpPr>
          <p:nvPr>
            <p:ph type="body" sz="quarter" idx="33" hasCustomPrompt="1"/>
          </p:nvPr>
        </p:nvSpPr>
        <p:spPr>
          <a:xfrm rot="5400000">
            <a:off x="5837846" y="4981163"/>
            <a:ext cx="756876"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63" name="Plassholder for tekst 56">
            <a:extLst>
              <a:ext uri="{FF2B5EF4-FFF2-40B4-BE49-F238E27FC236}">
                <a16:creationId xmlns:a16="http://schemas.microsoft.com/office/drawing/2014/main" id="{2DEE9EB4-8A8A-23C1-D771-956C42EE9F73}"/>
              </a:ext>
            </a:extLst>
          </p:cNvPr>
          <p:cNvSpPr>
            <a:spLocks noGrp="1"/>
          </p:cNvSpPr>
          <p:nvPr>
            <p:ph type="body" sz="quarter" idx="34" hasCustomPrompt="1"/>
          </p:nvPr>
        </p:nvSpPr>
        <p:spPr>
          <a:xfrm rot="5400000">
            <a:off x="5837846" y="3198572"/>
            <a:ext cx="756876"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Tree>
    <p:extLst>
      <p:ext uri="{BB962C8B-B14F-4D97-AF65-F5344CB8AC3E}">
        <p14:creationId xmlns:p14="http://schemas.microsoft.com/office/powerpoint/2010/main" val="2922029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phics 1 Dark">
    <p:bg>
      <p:bgRef idx="1001">
        <a:schemeClr val="bg2"/>
      </p:bgRef>
    </p:bg>
    <p:spTree>
      <p:nvGrpSpPr>
        <p:cNvPr id="1" name=""/>
        <p:cNvGrpSpPr/>
        <p:nvPr/>
      </p:nvGrpSpPr>
      <p:grpSpPr>
        <a:xfrm>
          <a:off x="0" y="0"/>
          <a:ext cx="0" cy="0"/>
          <a:chOff x="0" y="0"/>
          <a:chExt cx="0" cy="0"/>
        </a:xfrm>
      </p:grpSpPr>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chemeClr val="tx1"/>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chemeClr val="tx1"/>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5" name="Plassholder for tekst 14">
            <a:extLst>
              <a:ext uri="{FF2B5EF4-FFF2-40B4-BE49-F238E27FC236}">
                <a16:creationId xmlns:a16="http://schemas.microsoft.com/office/drawing/2014/main" id="{3127F087-7F5B-7F3B-1E63-D9EA3730F18B}"/>
              </a:ext>
            </a:extLst>
          </p:cNvPr>
          <p:cNvSpPr>
            <a:spLocks noGrp="1"/>
          </p:cNvSpPr>
          <p:nvPr>
            <p:ph type="body" sz="quarter" idx="13" hasCustomPrompt="1"/>
          </p:nvPr>
        </p:nvSpPr>
        <p:spPr>
          <a:xfrm>
            <a:off x="5039359" y="209830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6" name="Plassholder for tekst 14">
            <a:extLst>
              <a:ext uri="{FF2B5EF4-FFF2-40B4-BE49-F238E27FC236}">
                <a16:creationId xmlns:a16="http://schemas.microsoft.com/office/drawing/2014/main" id="{9D4561B3-C82B-5912-800B-8E10D1C407DD}"/>
              </a:ext>
            </a:extLst>
          </p:cNvPr>
          <p:cNvSpPr>
            <a:spLocks noGrp="1"/>
          </p:cNvSpPr>
          <p:nvPr>
            <p:ph type="body" sz="quarter" idx="14" hasCustomPrompt="1"/>
          </p:nvPr>
        </p:nvSpPr>
        <p:spPr>
          <a:xfrm>
            <a:off x="5007012" y="5444513"/>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7" name="Plassholder for tekst 14">
            <a:extLst>
              <a:ext uri="{FF2B5EF4-FFF2-40B4-BE49-F238E27FC236}">
                <a16:creationId xmlns:a16="http://schemas.microsoft.com/office/drawing/2014/main" id="{69D9C83F-87D3-BB04-36C0-B11758A403A0}"/>
              </a:ext>
            </a:extLst>
          </p:cNvPr>
          <p:cNvSpPr>
            <a:spLocks noGrp="1"/>
          </p:cNvSpPr>
          <p:nvPr>
            <p:ph type="body" sz="quarter" idx="15" hasCustomPrompt="1"/>
          </p:nvPr>
        </p:nvSpPr>
        <p:spPr>
          <a:xfrm>
            <a:off x="2986442" y="428698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8" name="Plassholder for tekst 14">
            <a:extLst>
              <a:ext uri="{FF2B5EF4-FFF2-40B4-BE49-F238E27FC236}">
                <a16:creationId xmlns:a16="http://schemas.microsoft.com/office/drawing/2014/main" id="{4DCC6BE3-DE2A-4CE0-5212-7920B4C93808}"/>
              </a:ext>
            </a:extLst>
          </p:cNvPr>
          <p:cNvSpPr>
            <a:spLocks noGrp="1"/>
          </p:cNvSpPr>
          <p:nvPr>
            <p:ph type="body" sz="quarter" idx="16" hasCustomPrompt="1"/>
          </p:nvPr>
        </p:nvSpPr>
        <p:spPr>
          <a:xfrm>
            <a:off x="2986442" y="3270984"/>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9" name="Plassholder for tekst 14">
            <a:extLst>
              <a:ext uri="{FF2B5EF4-FFF2-40B4-BE49-F238E27FC236}">
                <a16:creationId xmlns:a16="http://schemas.microsoft.com/office/drawing/2014/main" id="{42F09E14-4DC2-4E22-D1BB-D94C1B66E876}"/>
              </a:ext>
            </a:extLst>
          </p:cNvPr>
          <p:cNvSpPr>
            <a:spLocks noGrp="1"/>
          </p:cNvSpPr>
          <p:nvPr>
            <p:ph type="body" sz="quarter" idx="17" hasCustomPrompt="1"/>
          </p:nvPr>
        </p:nvSpPr>
        <p:spPr>
          <a:xfrm>
            <a:off x="7059332" y="3270984"/>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0" name="Plassholder for tekst 14">
            <a:extLst>
              <a:ext uri="{FF2B5EF4-FFF2-40B4-BE49-F238E27FC236}">
                <a16:creationId xmlns:a16="http://schemas.microsoft.com/office/drawing/2014/main" id="{608EA897-11A2-9A4F-A755-E59603E31F05}"/>
              </a:ext>
            </a:extLst>
          </p:cNvPr>
          <p:cNvSpPr>
            <a:spLocks noGrp="1"/>
          </p:cNvSpPr>
          <p:nvPr>
            <p:ph type="body" sz="quarter" idx="18" hasCustomPrompt="1"/>
          </p:nvPr>
        </p:nvSpPr>
        <p:spPr>
          <a:xfrm>
            <a:off x="7059332" y="429714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1" name="Plassholder for tekst 14">
            <a:extLst>
              <a:ext uri="{FF2B5EF4-FFF2-40B4-BE49-F238E27FC236}">
                <a16:creationId xmlns:a16="http://schemas.microsoft.com/office/drawing/2014/main" id="{CA41BE10-96DA-069F-ECFF-BFACFC814C27}"/>
              </a:ext>
            </a:extLst>
          </p:cNvPr>
          <p:cNvSpPr>
            <a:spLocks noGrp="1"/>
          </p:cNvSpPr>
          <p:nvPr>
            <p:ph type="body" sz="quarter" idx="19" hasCustomPrompt="1"/>
          </p:nvPr>
        </p:nvSpPr>
        <p:spPr>
          <a:xfrm>
            <a:off x="435012" y="3727340"/>
            <a:ext cx="2386800" cy="756875"/>
          </a:xfrm>
          <a:prstGeom prst="roundRect">
            <a:avLst/>
          </a:prstGeom>
          <a:solidFill>
            <a:schemeClr val="accent2"/>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2" name="Plassholder for tekst 14">
            <a:extLst>
              <a:ext uri="{FF2B5EF4-FFF2-40B4-BE49-F238E27FC236}">
                <a16:creationId xmlns:a16="http://schemas.microsoft.com/office/drawing/2014/main" id="{5D25C683-7829-FED0-9A95-30CBA15C526F}"/>
              </a:ext>
            </a:extLst>
          </p:cNvPr>
          <p:cNvSpPr>
            <a:spLocks noGrp="1"/>
          </p:cNvSpPr>
          <p:nvPr>
            <p:ph type="body" sz="quarter" idx="20" hasCustomPrompt="1"/>
          </p:nvPr>
        </p:nvSpPr>
        <p:spPr>
          <a:xfrm>
            <a:off x="9594129" y="3727340"/>
            <a:ext cx="2386800" cy="756875"/>
          </a:xfrm>
          <a:prstGeom prst="roundRect">
            <a:avLst/>
          </a:prstGeom>
          <a:solidFill>
            <a:schemeClr val="accent2"/>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48" name="Plassholder for tekst 46">
            <a:extLst>
              <a:ext uri="{FF2B5EF4-FFF2-40B4-BE49-F238E27FC236}">
                <a16:creationId xmlns:a16="http://schemas.microsoft.com/office/drawing/2014/main" id="{F5FF7358-D3E0-9FA0-520B-4688DB0CB5C4}"/>
              </a:ext>
            </a:extLst>
          </p:cNvPr>
          <p:cNvSpPr>
            <a:spLocks noGrp="1"/>
          </p:cNvSpPr>
          <p:nvPr>
            <p:ph type="body" sz="quarter" idx="26" hasCustomPrompt="1"/>
          </p:nvPr>
        </p:nvSpPr>
        <p:spPr>
          <a:xfrm>
            <a:off x="5274613" y="4088036"/>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0" name="Plassholder for tekst 46">
            <a:extLst>
              <a:ext uri="{FF2B5EF4-FFF2-40B4-BE49-F238E27FC236}">
                <a16:creationId xmlns:a16="http://schemas.microsoft.com/office/drawing/2014/main" id="{ED2AFA19-C59B-BC26-1B37-5EEE6F7BA407}"/>
              </a:ext>
            </a:extLst>
          </p:cNvPr>
          <p:cNvSpPr>
            <a:spLocks noGrp="1"/>
          </p:cNvSpPr>
          <p:nvPr>
            <p:ph type="body" sz="quarter" idx="27" hasCustomPrompt="1"/>
          </p:nvPr>
        </p:nvSpPr>
        <p:spPr>
          <a:xfrm flipV="1">
            <a:off x="5274613" y="3504229"/>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7" name="Plassholder for tekst 56">
            <a:extLst>
              <a:ext uri="{FF2B5EF4-FFF2-40B4-BE49-F238E27FC236}">
                <a16:creationId xmlns:a16="http://schemas.microsoft.com/office/drawing/2014/main" id="{937C2E78-5978-DF87-32CF-17848D80E2C7}"/>
              </a:ext>
            </a:extLst>
          </p:cNvPr>
          <p:cNvSpPr>
            <a:spLocks noGrp="1"/>
          </p:cNvSpPr>
          <p:nvPr>
            <p:ph type="body" sz="quarter" idx="28" hasCustomPrompt="1"/>
          </p:nvPr>
        </p:nvSpPr>
        <p:spPr>
          <a:xfrm>
            <a:off x="2821813" y="4088036"/>
            <a:ext cx="2921974"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58" name="Plassholder for tekst 46">
            <a:extLst>
              <a:ext uri="{FF2B5EF4-FFF2-40B4-BE49-F238E27FC236}">
                <a16:creationId xmlns:a16="http://schemas.microsoft.com/office/drawing/2014/main" id="{A6BF029E-F839-F21B-24A5-1EB9EA877301}"/>
              </a:ext>
            </a:extLst>
          </p:cNvPr>
          <p:cNvSpPr>
            <a:spLocks noGrp="1"/>
          </p:cNvSpPr>
          <p:nvPr>
            <p:ph type="body" sz="quarter" idx="29" hasCustomPrompt="1"/>
          </p:nvPr>
        </p:nvSpPr>
        <p:spPr>
          <a:xfrm flipH="1">
            <a:off x="6664761" y="4092074"/>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9" name="Plassholder for tekst 46">
            <a:extLst>
              <a:ext uri="{FF2B5EF4-FFF2-40B4-BE49-F238E27FC236}">
                <a16:creationId xmlns:a16="http://schemas.microsoft.com/office/drawing/2014/main" id="{D50AFF4C-EDA1-4244-7E4D-9119B33CA93D}"/>
              </a:ext>
            </a:extLst>
          </p:cNvPr>
          <p:cNvSpPr>
            <a:spLocks noGrp="1"/>
          </p:cNvSpPr>
          <p:nvPr>
            <p:ph type="body" sz="quarter" idx="30" hasCustomPrompt="1"/>
          </p:nvPr>
        </p:nvSpPr>
        <p:spPr>
          <a:xfrm flipH="1" flipV="1">
            <a:off x="6664761" y="3508267"/>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60" name="Plassholder for tekst 56">
            <a:extLst>
              <a:ext uri="{FF2B5EF4-FFF2-40B4-BE49-F238E27FC236}">
                <a16:creationId xmlns:a16="http://schemas.microsoft.com/office/drawing/2014/main" id="{A6B3452B-D249-8F85-DDE1-224992981260}"/>
              </a:ext>
            </a:extLst>
          </p:cNvPr>
          <p:cNvSpPr>
            <a:spLocks noGrp="1"/>
          </p:cNvSpPr>
          <p:nvPr>
            <p:ph type="body" sz="quarter" idx="31" hasCustomPrompt="1"/>
          </p:nvPr>
        </p:nvSpPr>
        <p:spPr>
          <a:xfrm flipH="1">
            <a:off x="6674459" y="4092074"/>
            <a:ext cx="2919669"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23" name="Plassholder for tekst 14">
            <a:extLst>
              <a:ext uri="{FF2B5EF4-FFF2-40B4-BE49-F238E27FC236}">
                <a16:creationId xmlns:a16="http://schemas.microsoft.com/office/drawing/2014/main" id="{F983920B-911C-1317-51A0-9DAFDFC53ABF}"/>
              </a:ext>
            </a:extLst>
          </p:cNvPr>
          <p:cNvSpPr>
            <a:spLocks noGrp="1"/>
          </p:cNvSpPr>
          <p:nvPr>
            <p:ph type="body" sz="quarter" idx="21" hasCustomPrompt="1"/>
          </p:nvPr>
        </p:nvSpPr>
        <p:spPr>
          <a:xfrm>
            <a:off x="5694900" y="3639706"/>
            <a:ext cx="1037002" cy="1037002"/>
          </a:xfrm>
          <a:prstGeom prst="ellipse">
            <a:avLst/>
          </a:prstGeom>
          <a:solidFill>
            <a:schemeClr val="tx1"/>
          </a:solidFill>
        </p:spPr>
        <p:txBody>
          <a:bodyPr anchor="ctr"/>
          <a:lstStyle>
            <a:lvl1pPr marL="0" indent="0" algn="ctr">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err="1"/>
              <a:t>Title</a:t>
            </a:r>
            <a:endParaRPr lang="nb-NO"/>
          </a:p>
        </p:txBody>
      </p:sp>
      <p:sp>
        <p:nvSpPr>
          <p:cNvPr id="62" name="Plassholder for tekst 56">
            <a:extLst>
              <a:ext uri="{FF2B5EF4-FFF2-40B4-BE49-F238E27FC236}">
                <a16:creationId xmlns:a16="http://schemas.microsoft.com/office/drawing/2014/main" id="{CE8D23F3-6671-5574-B7AC-17A123158976}"/>
              </a:ext>
            </a:extLst>
          </p:cNvPr>
          <p:cNvSpPr>
            <a:spLocks noGrp="1"/>
          </p:cNvSpPr>
          <p:nvPr>
            <p:ph type="body" sz="quarter" idx="33" hasCustomPrompt="1"/>
          </p:nvPr>
        </p:nvSpPr>
        <p:spPr>
          <a:xfrm rot="5400000">
            <a:off x="5837846" y="4981163"/>
            <a:ext cx="756876"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63" name="Plassholder for tekst 56">
            <a:extLst>
              <a:ext uri="{FF2B5EF4-FFF2-40B4-BE49-F238E27FC236}">
                <a16:creationId xmlns:a16="http://schemas.microsoft.com/office/drawing/2014/main" id="{2DEE9EB4-8A8A-23C1-D771-956C42EE9F73}"/>
              </a:ext>
            </a:extLst>
          </p:cNvPr>
          <p:cNvSpPr>
            <a:spLocks noGrp="1"/>
          </p:cNvSpPr>
          <p:nvPr>
            <p:ph type="body" sz="quarter" idx="34" hasCustomPrompt="1"/>
          </p:nvPr>
        </p:nvSpPr>
        <p:spPr>
          <a:xfrm rot="5400000">
            <a:off x="5837846" y="3198572"/>
            <a:ext cx="756876"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pic>
        <p:nvPicPr>
          <p:cNvPr id="2" name="Grafikk 1">
            <a:extLst>
              <a:ext uri="{FF2B5EF4-FFF2-40B4-BE49-F238E27FC236}">
                <a16:creationId xmlns:a16="http://schemas.microsoft.com/office/drawing/2014/main" id="{1B1389E9-0708-8A9F-4DE2-BB6537DF5F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356845772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le + subtitle - green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C1E1F7-F265-7C6D-4BA2-E2E2BAA585B6}"/>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aphic 10">
            <a:extLst>
              <a:ext uri="{FF2B5EF4-FFF2-40B4-BE49-F238E27FC236}">
                <a16:creationId xmlns:a16="http://schemas.microsoft.com/office/drawing/2014/main" id="{FD5784AF-26F9-73A8-0162-44DAEB45C30D}"/>
              </a:ext>
            </a:extLst>
          </p:cNvPr>
          <p:cNvGrpSpPr/>
          <p:nvPr userDrawn="1"/>
        </p:nvGrpSpPr>
        <p:grpSpPr>
          <a:xfrm>
            <a:off x="10156640" y="561169"/>
            <a:ext cx="1498921" cy="256736"/>
            <a:chOff x="1869557" y="3038867"/>
            <a:chExt cx="4569287" cy="782630"/>
          </a:xfrm>
          <a:solidFill>
            <a:schemeClr val="bg1"/>
          </a:solidFill>
        </p:grpSpPr>
        <p:sp>
          <p:nvSpPr>
            <p:cNvPr id="6" name="Freeform: Shape 12">
              <a:extLst>
                <a:ext uri="{FF2B5EF4-FFF2-40B4-BE49-F238E27FC236}">
                  <a16:creationId xmlns:a16="http://schemas.microsoft.com/office/drawing/2014/main" id="{392A124E-C2A9-A2D4-2102-5D014E85032B}"/>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7" name="Freeform: Shape 13">
              <a:extLst>
                <a:ext uri="{FF2B5EF4-FFF2-40B4-BE49-F238E27FC236}">
                  <a16:creationId xmlns:a16="http://schemas.microsoft.com/office/drawing/2014/main" id="{19A32EFA-96B1-A59B-B049-E73D5587AE40}"/>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8" name="Freeform: Shape 14">
              <a:extLst>
                <a:ext uri="{FF2B5EF4-FFF2-40B4-BE49-F238E27FC236}">
                  <a16:creationId xmlns:a16="http://schemas.microsoft.com/office/drawing/2014/main" id="{66000DB6-94F7-CF84-F2C9-18D67E6CE17D}"/>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9" name="Freeform: Shape 15">
              <a:extLst>
                <a:ext uri="{FF2B5EF4-FFF2-40B4-BE49-F238E27FC236}">
                  <a16:creationId xmlns:a16="http://schemas.microsoft.com/office/drawing/2014/main" id="{B325851D-D7DB-A89B-71B6-B11356B0572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E8EBE1A0-4D6B-61D6-64E0-901817BEDB77}"/>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BCAAE52F-9A1A-7B57-637E-E1A538390102}"/>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sp>
        <p:nvSpPr>
          <p:cNvPr id="20" name="Plassholder for tekst 19">
            <a:extLst>
              <a:ext uri="{FF2B5EF4-FFF2-40B4-BE49-F238E27FC236}">
                <a16:creationId xmlns:a16="http://schemas.microsoft.com/office/drawing/2014/main" id="{B56A677A-4599-FE37-6CC6-61F08D43165D}"/>
              </a:ext>
            </a:extLst>
          </p:cNvPr>
          <p:cNvSpPr>
            <a:spLocks noGrp="1"/>
          </p:cNvSpPr>
          <p:nvPr>
            <p:ph type="body" sz="quarter" idx="10"/>
          </p:nvPr>
        </p:nvSpPr>
        <p:spPr>
          <a:xfrm>
            <a:off x="1436071" y="2342928"/>
            <a:ext cx="8471189" cy="1700081"/>
          </a:xfrm>
          <a:prstGeom prst="rect">
            <a:avLst/>
          </a:prstGeom>
        </p:spPr>
        <p:txBody>
          <a:bodyPr anchor="b"/>
          <a:lstStyle>
            <a:lvl1pPr marL="0" indent="0">
              <a:buNone/>
              <a:defRPr sz="5000">
                <a:solidFill>
                  <a:schemeClr val="bg1"/>
                </a:solidFill>
                <a:latin typeface="Haffer" pitchFamily="2" charset="77"/>
                <a:cs typeface="Haffer" pitchFamily="2" charset="77"/>
              </a:defRPr>
            </a:lvl1pPr>
          </a:lstStyle>
          <a:p>
            <a:pPr lvl="0"/>
            <a:r>
              <a:rPr lang="de-DE"/>
              <a:t>Mastertextformat bearbeiten</a:t>
            </a:r>
          </a:p>
          <a:p>
            <a:pPr lvl="1"/>
            <a:r>
              <a:rPr lang="de-DE"/>
              <a:t>Zweite Ebene</a:t>
            </a:r>
          </a:p>
        </p:txBody>
      </p:sp>
      <p:sp>
        <p:nvSpPr>
          <p:cNvPr id="21" name="Plassholder for tekst 19">
            <a:extLst>
              <a:ext uri="{FF2B5EF4-FFF2-40B4-BE49-F238E27FC236}">
                <a16:creationId xmlns:a16="http://schemas.microsoft.com/office/drawing/2014/main" id="{3EB3F4BB-33E8-B7A7-C733-4AC6AA42F6D8}"/>
              </a:ext>
            </a:extLst>
          </p:cNvPr>
          <p:cNvSpPr>
            <a:spLocks noGrp="1"/>
          </p:cNvSpPr>
          <p:nvPr>
            <p:ph type="body" sz="quarter" idx="11" hasCustomPrompt="1"/>
          </p:nvPr>
        </p:nvSpPr>
        <p:spPr>
          <a:xfrm>
            <a:off x="1436071" y="4269969"/>
            <a:ext cx="8471189" cy="1700081"/>
          </a:xfrm>
          <a:prstGeom prst="rect">
            <a:avLst/>
          </a:prstGeom>
        </p:spPr>
        <p:txBody>
          <a:bodyPr anchor="t"/>
          <a:lstStyle>
            <a:lvl1pPr marL="0" indent="0">
              <a:buNone/>
              <a:defRPr sz="2500" b="0" i="0">
                <a:solidFill>
                  <a:schemeClr val="bg1"/>
                </a:solidFill>
                <a:latin typeface="Haffer Light" pitchFamily="2" charset="77"/>
                <a:cs typeface="Haffer Light" pitchFamily="2" charset="77"/>
              </a:defRPr>
            </a:lvl1pPr>
          </a:lstStyle>
          <a:p>
            <a:pPr lvl="0"/>
            <a:r>
              <a:rPr lang="nb-NO" err="1"/>
              <a:t>Subtitle</a:t>
            </a:r>
            <a:endParaRPr lang="nb-NO"/>
          </a:p>
        </p:txBody>
      </p:sp>
      <p:sp>
        <p:nvSpPr>
          <p:cNvPr id="22" name="Ellipse 21">
            <a:extLst>
              <a:ext uri="{FF2B5EF4-FFF2-40B4-BE49-F238E27FC236}">
                <a16:creationId xmlns:a16="http://schemas.microsoft.com/office/drawing/2014/main" id="{6E2B6B66-B6DF-5471-1231-95C4362EBD94}"/>
              </a:ext>
            </a:extLst>
          </p:cNvPr>
          <p:cNvSpPr/>
          <p:nvPr userDrawn="1"/>
        </p:nvSpPr>
        <p:spPr>
          <a:xfrm>
            <a:off x="-930481" y="-323901"/>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3" name="Ellipse 22">
            <a:extLst>
              <a:ext uri="{FF2B5EF4-FFF2-40B4-BE49-F238E27FC236}">
                <a16:creationId xmlns:a16="http://schemas.microsoft.com/office/drawing/2014/main" id="{07E0728F-FEF8-3C9F-F79C-8CFAFA8805F7}"/>
              </a:ext>
            </a:extLst>
          </p:cNvPr>
          <p:cNvSpPr/>
          <p:nvPr userDrawn="1"/>
        </p:nvSpPr>
        <p:spPr>
          <a:xfrm>
            <a:off x="913925" y="-2107757"/>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24" name="Ellipse 23">
            <a:extLst>
              <a:ext uri="{FF2B5EF4-FFF2-40B4-BE49-F238E27FC236}">
                <a16:creationId xmlns:a16="http://schemas.microsoft.com/office/drawing/2014/main" id="{468A8CD6-C3DF-88E6-999D-44786EBD7C11}"/>
              </a:ext>
            </a:extLst>
          </p:cNvPr>
          <p:cNvSpPr/>
          <p:nvPr userDrawn="1"/>
        </p:nvSpPr>
        <p:spPr>
          <a:xfrm>
            <a:off x="2523919" y="564042"/>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BC39358A-04A8-974B-F444-CAF85106B4F3}"/>
              </a:ext>
            </a:extLst>
          </p:cNvPr>
          <p:cNvSpPr/>
          <p:nvPr userDrawn="1"/>
        </p:nvSpPr>
        <p:spPr>
          <a:xfrm>
            <a:off x="1152640" y="581367"/>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9C08F669-585E-2AA3-CFEB-B6EDD2CB537B}"/>
              </a:ext>
            </a:extLst>
          </p:cNvPr>
          <p:cNvSpPr/>
          <p:nvPr userDrawn="1"/>
        </p:nvSpPr>
        <p:spPr>
          <a:xfrm>
            <a:off x="265833" y="-904006"/>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4291280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phics 2 dark">
    <p:bg>
      <p:bgRef idx="1001">
        <a:schemeClr val="bg2"/>
      </p:bgRef>
    </p:bg>
    <p:spTree>
      <p:nvGrpSpPr>
        <p:cNvPr id="1" name=""/>
        <p:cNvGrpSpPr/>
        <p:nvPr/>
      </p:nvGrpSpPr>
      <p:grpSpPr>
        <a:xfrm>
          <a:off x="0" y="0"/>
          <a:ext cx="0" cy="0"/>
          <a:chOff x="0" y="0"/>
          <a:chExt cx="0" cy="0"/>
        </a:xfrm>
      </p:grpSpPr>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chemeClr val="tx1"/>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chemeClr val="tx1"/>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5" name="Plassholder for tekst 84">
            <a:extLst>
              <a:ext uri="{FF2B5EF4-FFF2-40B4-BE49-F238E27FC236}">
                <a16:creationId xmlns:a16="http://schemas.microsoft.com/office/drawing/2014/main" id="{EF413E8B-300C-0E52-82E8-1A8DB914DBBB}"/>
              </a:ext>
            </a:extLst>
          </p:cNvPr>
          <p:cNvSpPr>
            <a:spLocks noGrp="1"/>
          </p:cNvSpPr>
          <p:nvPr>
            <p:ph type="body" sz="quarter" idx="21" hasCustomPrompt="1"/>
          </p:nvPr>
        </p:nvSpPr>
        <p:spPr>
          <a:xfrm>
            <a:off x="2957884" y="4158532"/>
            <a:ext cx="2464905"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6" name="Plassholder for tekst 84">
            <a:extLst>
              <a:ext uri="{FF2B5EF4-FFF2-40B4-BE49-F238E27FC236}">
                <a16:creationId xmlns:a16="http://schemas.microsoft.com/office/drawing/2014/main" id="{FE0FA6FD-6025-496B-6236-AC64BCAE6C35}"/>
              </a:ext>
            </a:extLst>
          </p:cNvPr>
          <p:cNvSpPr>
            <a:spLocks noGrp="1"/>
          </p:cNvSpPr>
          <p:nvPr>
            <p:ph type="body" sz="quarter" idx="22" hasCustomPrompt="1"/>
          </p:nvPr>
        </p:nvSpPr>
        <p:spPr>
          <a:xfrm>
            <a:off x="1294120" y="4158532"/>
            <a:ext cx="2355530"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7" name="Plassholder for tekst 84">
            <a:extLst>
              <a:ext uri="{FF2B5EF4-FFF2-40B4-BE49-F238E27FC236}">
                <a16:creationId xmlns:a16="http://schemas.microsoft.com/office/drawing/2014/main" id="{BDCF82ED-D14D-534F-899C-5A1C1C5F029F}"/>
              </a:ext>
            </a:extLst>
          </p:cNvPr>
          <p:cNvSpPr>
            <a:spLocks noGrp="1"/>
          </p:cNvSpPr>
          <p:nvPr>
            <p:ph type="body" sz="quarter" idx="23" hasCustomPrompt="1"/>
          </p:nvPr>
        </p:nvSpPr>
        <p:spPr>
          <a:xfrm flipH="1">
            <a:off x="8412711" y="4158532"/>
            <a:ext cx="2464905"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8" name="Plassholder for tekst 84">
            <a:extLst>
              <a:ext uri="{FF2B5EF4-FFF2-40B4-BE49-F238E27FC236}">
                <a16:creationId xmlns:a16="http://schemas.microsoft.com/office/drawing/2014/main" id="{34F03D9D-1CE7-DD3B-F66C-BFD35C16775A}"/>
              </a:ext>
            </a:extLst>
          </p:cNvPr>
          <p:cNvSpPr>
            <a:spLocks noGrp="1"/>
          </p:cNvSpPr>
          <p:nvPr>
            <p:ph type="body" sz="quarter" idx="24" hasCustomPrompt="1"/>
          </p:nvPr>
        </p:nvSpPr>
        <p:spPr>
          <a:xfrm flipH="1">
            <a:off x="6740996" y="4158532"/>
            <a:ext cx="2355530"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90" name="Plassholder for tekst 84">
            <a:extLst>
              <a:ext uri="{FF2B5EF4-FFF2-40B4-BE49-F238E27FC236}">
                <a16:creationId xmlns:a16="http://schemas.microsoft.com/office/drawing/2014/main" id="{D821DFED-78A8-0BD6-ABB7-8E5D9C78CA2B}"/>
              </a:ext>
            </a:extLst>
          </p:cNvPr>
          <p:cNvSpPr>
            <a:spLocks noGrp="1"/>
          </p:cNvSpPr>
          <p:nvPr>
            <p:ph type="body" sz="quarter" idx="25" hasCustomPrompt="1"/>
          </p:nvPr>
        </p:nvSpPr>
        <p:spPr>
          <a:xfrm>
            <a:off x="4801313" y="4158533"/>
            <a:ext cx="693705" cy="1343770"/>
          </a:xfrm>
          <a:prstGeom prst="rect">
            <a:avLst/>
          </a:prstGeom>
          <a:blipFill>
            <a:blip r:embed="rId3"/>
            <a:stretch>
              <a:fillRect/>
            </a:stretch>
          </a:blipFill>
        </p:spPr>
        <p:txBody>
          <a:bodyPr/>
          <a:lstStyle>
            <a:lvl1pPr marL="0" indent="0">
              <a:buNone/>
              <a:defRPr/>
            </a:lvl1pPr>
          </a:lstStyle>
          <a:p>
            <a:pPr lvl="0"/>
            <a:r>
              <a:rPr lang="nb-NO"/>
              <a:t> </a:t>
            </a:r>
          </a:p>
        </p:txBody>
      </p:sp>
      <p:sp>
        <p:nvSpPr>
          <p:cNvPr id="91" name="Plassholder for tekst 84">
            <a:extLst>
              <a:ext uri="{FF2B5EF4-FFF2-40B4-BE49-F238E27FC236}">
                <a16:creationId xmlns:a16="http://schemas.microsoft.com/office/drawing/2014/main" id="{CAE6143E-86F9-B0C7-317D-B5CE4306FDEF}"/>
              </a:ext>
            </a:extLst>
          </p:cNvPr>
          <p:cNvSpPr>
            <a:spLocks noGrp="1"/>
          </p:cNvSpPr>
          <p:nvPr>
            <p:ph type="body" sz="quarter" idx="26" hasCustomPrompt="1"/>
          </p:nvPr>
        </p:nvSpPr>
        <p:spPr>
          <a:xfrm flipH="1">
            <a:off x="6593361" y="4158533"/>
            <a:ext cx="693705" cy="1343770"/>
          </a:xfrm>
          <a:prstGeom prst="rect">
            <a:avLst/>
          </a:prstGeom>
          <a:blipFill>
            <a:blip r:embed="rId3"/>
            <a:stretch>
              <a:fillRect/>
            </a:stretch>
          </a:blipFill>
        </p:spPr>
        <p:txBody>
          <a:bodyPr/>
          <a:lstStyle>
            <a:lvl1pPr marL="0" indent="0">
              <a:buNone/>
              <a:defRPr/>
            </a:lvl1pPr>
          </a:lstStyle>
          <a:p>
            <a:pPr lvl="0"/>
            <a:r>
              <a:rPr lang="nb-NO"/>
              <a:t> </a:t>
            </a:r>
          </a:p>
        </p:txBody>
      </p:sp>
      <p:sp>
        <p:nvSpPr>
          <p:cNvPr id="67" name="Plassholder for tekst 66">
            <a:extLst>
              <a:ext uri="{FF2B5EF4-FFF2-40B4-BE49-F238E27FC236}">
                <a16:creationId xmlns:a16="http://schemas.microsoft.com/office/drawing/2014/main" id="{72399FEF-9F0F-76CE-CE91-DA4CBD2B13FB}"/>
              </a:ext>
            </a:extLst>
          </p:cNvPr>
          <p:cNvSpPr>
            <a:spLocks noGrp="1"/>
          </p:cNvSpPr>
          <p:nvPr>
            <p:ph type="body" sz="quarter" idx="13" hasCustomPrompt="1"/>
          </p:nvPr>
        </p:nvSpPr>
        <p:spPr>
          <a:xfrm>
            <a:off x="5105097" y="4630555"/>
            <a:ext cx="1844216" cy="1844216"/>
          </a:xfrm>
          <a:prstGeom prst="ellipse">
            <a:avLst/>
          </a:prstGeom>
          <a:solidFill>
            <a:schemeClr val="tx1"/>
          </a:solidFill>
        </p:spPr>
        <p:txBody>
          <a:bodyPr anchor="ctr"/>
          <a:lstStyle>
            <a:lvl1pPr marL="0" indent="0" algn="ctr">
              <a:buNone/>
              <a:defRPr sz="1600" b="0" i="0">
                <a:solidFill>
                  <a:schemeClr val="bg2"/>
                </a:solidFill>
                <a:latin typeface="Haffer Light" pitchFamily="2" charset="77"/>
                <a:cs typeface="Haffer Light" pitchFamily="2" charset="77"/>
              </a:defRPr>
            </a:lvl1pPr>
          </a:lstStyle>
          <a:p>
            <a:pPr lvl="0"/>
            <a:r>
              <a:rPr lang="nb-NO" err="1"/>
              <a:t>Title</a:t>
            </a:r>
            <a:endParaRPr lang="nb-NO"/>
          </a:p>
        </p:txBody>
      </p:sp>
      <p:sp>
        <p:nvSpPr>
          <p:cNvPr id="72" name="Friform 71">
            <a:extLst>
              <a:ext uri="{FF2B5EF4-FFF2-40B4-BE49-F238E27FC236}">
                <a16:creationId xmlns:a16="http://schemas.microsoft.com/office/drawing/2014/main" id="{08E8C2C1-3CA8-75FA-D5EB-3389CD5D0FD1}"/>
              </a:ext>
            </a:extLst>
          </p:cNvPr>
          <p:cNvSpPr>
            <a:spLocks noGrp="1"/>
          </p:cNvSpPr>
          <p:nvPr>
            <p:ph type="body" sz="quarter" idx="15" hasCustomPrompt="1"/>
          </p:nvPr>
        </p:nvSpPr>
        <p:spPr>
          <a:xfrm>
            <a:off x="95997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tx1"/>
                </a:solidFill>
                <a:latin typeface="Haffer Light" pitchFamily="2" charset="77"/>
                <a:cs typeface="Haffer Light" pitchFamily="2" charset="77"/>
              </a:defRPr>
            </a:lvl1pPr>
          </a:lstStyle>
          <a:p>
            <a:pPr lvl="0"/>
            <a:r>
              <a:rPr lang="nb-NO"/>
              <a:t>Tekst her</a:t>
            </a:r>
          </a:p>
        </p:txBody>
      </p:sp>
      <p:sp>
        <p:nvSpPr>
          <p:cNvPr id="77" name="Friform 76">
            <a:extLst>
              <a:ext uri="{FF2B5EF4-FFF2-40B4-BE49-F238E27FC236}">
                <a16:creationId xmlns:a16="http://schemas.microsoft.com/office/drawing/2014/main" id="{CA644793-3478-5F1C-661C-D5EE3C028C77}"/>
              </a:ext>
            </a:extLst>
          </p:cNvPr>
          <p:cNvSpPr>
            <a:spLocks noGrp="1"/>
          </p:cNvSpPr>
          <p:nvPr>
            <p:ph type="body" sz="quarter" idx="16" hasCustomPrompt="1"/>
          </p:nvPr>
        </p:nvSpPr>
        <p:spPr>
          <a:xfrm>
            <a:off x="263770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bg2"/>
                </a:solidFill>
                <a:latin typeface="Haffer Light" pitchFamily="2" charset="77"/>
                <a:cs typeface="Haffer Light" pitchFamily="2" charset="77"/>
              </a:defRPr>
            </a:lvl1pPr>
          </a:lstStyle>
          <a:p>
            <a:pPr lvl="0"/>
            <a:r>
              <a:rPr lang="nb-NO"/>
              <a:t>Tekst her</a:t>
            </a:r>
          </a:p>
        </p:txBody>
      </p:sp>
      <p:sp>
        <p:nvSpPr>
          <p:cNvPr id="78" name="Friform 77">
            <a:extLst>
              <a:ext uri="{FF2B5EF4-FFF2-40B4-BE49-F238E27FC236}">
                <a16:creationId xmlns:a16="http://schemas.microsoft.com/office/drawing/2014/main" id="{2C6A16C1-4381-1069-D81F-47085E1CDEC1}"/>
              </a:ext>
            </a:extLst>
          </p:cNvPr>
          <p:cNvSpPr>
            <a:spLocks noGrp="1"/>
          </p:cNvSpPr>
          <p:nvPr>
            <p:ph type="body" sz="quarter" idx="17" hasCustomPrompt="1"/>
          </p:nvPr>
        </p:nvSpPr>
        <p:spPr>
          <a:xfrm>
            <a:off x="4386991"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9" name="Friform 78">
            <a:extLst>
              <a:ext uri="{FF2B5EF4-FFF2-40B4-BE49-F238E27FC236}">
                <a16:creationId xmlns:a16="http://schemas.microsoft.com/office/drawing/2014/main" id="{43023B48-D4E5-FC46-687C-A3212CBF5DD1}"/>
              </a:ext>
            </a:extLst>
          </p:cNvPr>
          <p:cNvSpPr>
            <a:spLocks noGrp="1"/>
          </p:cNvSpPr>
          <p:nvPr>
            <p:ph type="body" sz="quarter" idx="18" hasCustomPrompt="1"/>
          </p:nvPr>
        </p:nvSpPr>
        <p:spPr>
          <a:xfrm>
            <a:off x="614422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
        <p:nvSpPr>
          <p:cNvPr id="80" name="Friform 79">
            <a:extLst>
              <a:ext uri="{FF2B5EF4-FFF2-40B4-BE49-F238E27FC236}">
                <a16:creationId xmlns:a16="http://schemas.microsoft.com/office/drawing/2014/main" id="{809FFEDF-1D02-0305-3219-665060FD9D98}"/>
              </a:ext>
            </a:extLst>
          </p:cNvPr>
          <p:cNvSpPr>
            <a:spLocks noGrp="1"/>
          </p:cNvSpPr>
          <p:nvPr>
            <p:ph type="body" sz="quarter" idx="19" hasCustomPrompt="1"/>
          </p:nvPr>
        </p:nvSpPr>
        <p:spPr>
          <a:xfrm>
            <a:off x="7893516"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1"/>
          </a:solidFill>
          <a:ln>
            <a:noFill/>
          </a:ln>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1" name="Friform 80">
            <a:extLst>
              <a:ext uri="{FF2B5EF4-FFF2-40B4-BE49-F238E27FC236}">
                <a16:creationId xmlns:a16="http://schemas.microsoft.com/office/drawing/2014/main" id="{8C693893-89CF-A3CB-0C1D-E5E0D9FF6F2E}"/>
              </a:ext>
            </a:extLst>
          </p:cNvPr>
          <p:cNvSpPr>
            <a:spLocks noGrp="1"/>
          </p:cNvSpPr>
          <p:nvPr>
            <p:ph type="body" sz="quarter" idx="20" hasCustomPrompt="1"/>
          </p:nvPr>
        </p:nvSpPr>
        <p:spPr>
          <a:xfrm>
            <a:off x="965075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bg2"/>
                </a:solidFill>
                <a:latin typeface="Haffer Light" pitchFamily="2" charset="77"/>
                <a:cs typeface="Haffer Light" pitchFamily="2" charset="77"/>
              </a:defRPr>
            </a:lvl1pPr>
          </a:lstStyle>
          <a:p>
            <a:pPr lvl="0"/>
            <a:r>
              <a:rPr lang="nb-NO"/>
              <a:t>Tekst her</a:t>
            </a:r>
          </a:p>
        </p:txBody>
      </p:sp>
      <p:pic>
        <p:nvPicPr>
          <p:cNvPr id="2" name="Grafikk 1">
            <a:extLst>
              <a:ext uri="{FF2B5EF4-FFF2-40B4-BE49-F238E27FC236}">
                <a16:creationId xmlns:a16="http://schemas.microsoft.com/office/drawing/2014/main" id="{DDAC66EB-1870-300A-7B82-89C7D68BB5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329404481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aphics 2 Light">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rgbClr val="022E33"/>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5" name="Plassholder for tekst 84">
            <a:extLst>
              <a:ext uri="{FF2B5EF4-FFF2-40B4-BE49-F238E27FC236}">
                <a16:creationId xmlns:a16="http://schemas.microsoft.com/office/drawing/2014/main" id="{EF413E8B-300C-0E52-82E8-1A8DB914DBBB}"/>
              </a:ext>
            </a:extLst>
          </p:cNvPr>
          <p:cNvSpPr>
            <a:spLocks noGrp="1"/>
          </p:cNvSpPr>
          <p:nvPr>
            <p:ph type="body" sz="quarter" idx="21" hasCustomPrompt="1"/>
          </p:nvPr>
        </p:nvSpPr>
        <p:spPr>
          <a:xfrm>
            <a:off x="2957884" y="4158532"/>
            <a:ext cx="2464905"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6" name="Plassholder for tekst 84">
            <a:extLst>
              <a:ext uri="{FF2B5EF4-FFF2-40B4-BE49-F238E27FC236}">
                <a16:creationId xmlns:a16="http://schemas.microsoft.com/office/drawing/2014/main" id="{FE0FA6FD-6025-496B-6236-AC64BCAE6C35}"/>
              </a:ext>
            </a:extLst>
          </p:cNvPr>
          <p:cNvSpPr>
            <a:spLocks noGrp="1"/>
          </p:cNvSpPr>
          <p:nvPr>
            <p:ph type="body" sz="quarter" idx="22" hasCustomPrompt="1"/>
          </p:nvPr>
        </p:nvSpPr>
        <p:spPr>
          <a:xfrm>
            <a:off x="1294120" y="4158532"/>
            <a:ext cx="2355530"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7" name="Plassholder for tekst 84">
            <a:extLst>
              <a:ext uri="{FF2B5EF4-FFF2-40B4-BE49-F238E27FC236}">
                <a16:creationId xmlns:a16="http://schemas.microsoft.com/office/drawing/2014/main" id="{BDCF82ED-D14D-534F-899C-5A1C1C5F029F}"/>
              </a:ext>
            </a:extLst>
          </p:cNvPr>
          <p:cNvSpPr>
            <a:spLocks noGrp="1"/>
          </p:cNvSpPr>
          <p:nvPr>
            <p:ph type="body" sz="quarter" idx="23" hasCustomPrompt="1"/>
          </p:nvPr>
        </p:nvSpPr>
        <p:spPr>
          <a:xfrm flipH="1">
            <a:off x="8412711" y="4158532"/>
            <a:ext cx="2464905"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8" name="Plassholder for tekst 84">
            <a:extLst>
              <a:ext uri="{FF2B5EF4-FFF2-40B4-BE49-F238E27FC236}">
                <a16:creationId xmlns:a16="http://schemas.microsoft.com/office/drawing/2014/main" id="{34F03D9D-1CE7-DD3B-F66C-BFD35C16775A}"/>
              </a:ext>
            </a:extLst>
          </p:cNvPr>
          <p:cNvSpPr>
            <a:spLocks noGrp="1"/>
          </p:cNvSpPr>
          <p:nvPr>
            <p:ph type="body" sz="quarter" idx="24" hasCustomPrompt="1"/>
          </p:nvPr>
        </p:nvSpPr>
        <p:spPr>
          <a:xfrm flipH="1">
            <a:off x="6740996" y="4158532"/>
            <a:ext cx="2355530"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90" name="Plassholder for tekst 84">
            <a:extLst>
              <a:ext uri="{FF2B5EF4-FFF2-40B4-BE49-F238E27FC236}">
                <a16:creationId xmlns:a16="http://schemas.microsoft.com/office/drawing/2014/main" id="{D821DFED-78A8-0BD6-ABB7-8E5D9C78CA2B}"/>
              </a:ext>
            </a:extLst>
          </p:cNvPr>
          <p:cNvSpPr>
            <a:spLocks noGrp="1"/>
          </p:cNvSpPr>
          <p:nvPr>
            <p:ph type="body" sz="quarter" idx="25" hasCustomPrompt="1"/>
          </p:nvPr>
        </p:nvSpPr>
        <p:spPr>
          <a:xfrm>
            <a:off x="4801313" y="4158533"/>
            <a:ext cx="693705" cy="1343770"/>
          </a:xfrm>
          <a:prstGeom prst="rect">
            <a:avLst/>
          </a:prstGeom>
          <a:blipFill>
            <a:blip r:embed="rId4"/>
            <a:stretch>
              <a:fillRect/>
            </a:stretch>
          </a:blipFill>
        </p:spPr>
        <p:txBody>
          <a:bodyPr/>
          <a:lstStyle>
            <a:lvl1pPr marL="0" indent="0">
              <a:buNone/>
              <a:defRPr/>
            </a:lvl1pPr>
          </a:lstStyle>
          <a:p>
            <a:pPr lvl="0"/>
            <a:r>
              <a:rPr lang="nb-NO"/>
              <a:t> </a:t>
            </a:r>
          </a:p>
        </p:txBody>
      </p:sp>
      <p:sp>
        <p:nvSpPr>
          <p:cNvPr id="91" name="Plassholder for tekst 84">
            <a:extLst>
              <a:ext uri="{FF2B5EF4-FFF2-40B4-BE49-F238E27FC236}">
                <a16:creationId xmlns:a16="http://schemas.microsoft.com/office/drawing/2014/main" id="{CAE6143E-86F9-B0C7-317D-B5CE4306FDEF}"/>
              </a:ext>
            </a:extLst>
          </p:cNvPr>
          <p:cNvSpPr>
            <a:spLocks noGrp="1"/>
          </p:cNvSpPr>
          <p:nvPr>
            <p:ph type="body" sz="quarter" idx="26" hasCustomPrompt="1"/>
          </p:nvPr>
        </p:nvSpPr>
        <p:spPr>
          <a:xfrm flipH="1">
            <a:off x="6593361" y="4158533"/>
            <a:ext cx="693705" cy="1343770"/>
          </a:xfrm>
          <a:prstGeom prst="rect">
            <a:avLst/>
          </a:prstGeom>
          <a:blipFill>
            <a:blip r:embed="rId4"/>
            <a:stretch>
              <a:fillRect/>
            </a:stretch>
          </a:blipFill>
        </p:spPr>
        <p:txBody>
          <a:bodyPr/>
          <a:lstStyle>
            <a:lvl1pPr marL="0" indent="0">
              <a:buNone/>
              <a:defRPr/>
            </a:lvl1pPr>
          </a:lstStyle>
          <a:p>
            <a:pPr lvl="0"/>
            <a:r>
              <a:rPr lang="nb-NO"/>
              <a:t> </a:t>
            </a:r>
          </a:p>
        </p:txBody>
      </p:sp>
      <p:sp>
        <p:nvSpPr>
          <p:cNvPr id="67" name="Plassholder for tekst 66">
            <a:extLst>
              <a:ext uri="{FF2B5EF4-FFF2-40B4-BE49-F238E27FC236}">
                <a16:creationId xmlns:a16="http://schemas.microsoft.com/office/drawing/2014/main" id="{72399FEF-9F0F-76CE-CE91-DA4CBD2B13FB}"/>
              </a:ext>
            </a:extLst>
          </p:cNvPr>
          <p:cNvSpPr>
            <a:spLocks noGrp="1"/>
          </p:cNvSpPr>
          <p:nvPr>
            <p:ph type="body" sz="quarter" idx="13" hasCustomPrompt="1"/>
          </p:nvPr>
        </p:nvSpPr>
        <p:spPr>
          <a:xfrm>
            <a:off x="5105097" y="4630555"/>
            <a:ext cx="1844216" cy="1844216"/>
          </a:xfrm>
          <a:prstGeom prst="ellipse">
            <a:avLst/>
          </a:prstGeom>
          <a:solidFill>
            <a:schemeClr val="accent4"/>
          </a:solidFill>
        </p:spPr>
        <p:txBody>
          <a:bodyPr anchor="ctr"/>
          <a:lstStyle>
            <a:lvl1pPr marL="0" indent="0" algn="ctr">
              <a:buNone/>
              <a:defRPr sz="1600" b="0" i="0">
                <a:latin typeface="Haffer Light" pitchFamily="2" charset="77"/>
                <a:cs typeface="Haffer Light" pitchFamily="2" charset="77"/>
              </a:defRPr>
            </a:lvl1pPr>
          </a:lstStyle>
          <a:p>
            <a:pPr lvl="0"/>
            <a:r>
              <a:rPr lang="nb-NO" err="1"/>
              <a:t>Title</a:t>
            </a:r>
            <a:endParaRPr lang="nb-NO"/>
          </a:p>
        </p:txBody>
      </p:sp>
      <p:sp>
        <p:nvSpPr>
          <p:cNvPr id="72" name="Friform 71">
            <a:extLst>
              <a:ext uri="{FF2B5EF4-FFF2-40B4-BE49-F238E27FC236}">
                <a16:creationId xmlns:a16="http://schemas.microsoft.com/office/drawing/2014/main" id="{08E8C2C1-3CA8-75FA-D5EB-3389CD5D0FD1}"/>
              </a:ext>
            </a:extLst>
          </p:cNvPr>
          <p:cNvSpPr>
            <a:spLocks noGrp="1"/>
          </p:cNvSpPr>
          <p:nvPr>
            <p:ph type="body" sz="quarter" idx="15" hasCustomPrompt="1"/>
          </p:nvPr>
        </p:nvSpPr>
        <p:spPr>
          <a:xfrm>
            <a:off x="95997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7" name="Friform 76">
            <a:extLst>
              <a:ext uri="{FF2B5EF4-FFF2-40B4-BE49-F238E27FC236}">
                <a16:creationId xmlns:a16="http://schemas.microsoft.com/office/drawing/2014/main" id="{CA644793-3478-5F1C-661C-D5EE3C028C77}"/>
              </a:ext>
            </a:extLst>
          </p:cNvPr>
          <p:cNvSpPr>
            <a:spLocks noGrp="1"/>
          </p:cNvSpPr>
          <p:nvPr>
            <p:ph type="body" sz="quarter" idx="16" hasCustomPrompt="1"/>
          </p:nvPr>
        </p:nvSpPr>
        <p:spPr>
          <a:xfrm>
            <a:off x="263770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
        <p:nvSpPr>
          <p:cNvPr id="78" name="Friform 77">
            <a:extLst>
              <a:ext uri="{FF2B5EF4-FFF2-40B4-BE49-F238E27FC236}">
                <a16:creationId xmlns:a16="http://schemas.microsoft.com/office/drawing/2014/main" id="{2C6A16C1-4381-1069-D81F-47085E1CDEC1}"/>
              </a:ext>
            </a:extLst>
          </p:cNvPr>
          <p:cNvSpPr>
            <a:spLocks noGrp="1"/>
          </p:cNvSpPr>
          <p:nvPr>
            <p:ph type="body" sz="quarter" idx="17" hasCustomPrompt="1"/>
          </p:nvPr>
        </p:nvSpPr>
        <p:spPr>
          <a:xfrm>
            <a:off x="4386991"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2"/>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9" name="Friform 78">
            <a:extLst>
              <a:ext uri="{FF2B5EF4-FFF2-40B4-BE49-F238E27FC236}">
                <a16:creationId xmlns:a16="http://schemas.microsoft.com/office/drawing/2014/main" id="{43023B48-D4E5-FC46-687C-A3212CBF5DD1}"/>
              </a:ext>
            </a:extLst>
          </p:cNvPr>
          <p:cNvSpPr>
            <a:spLocks noGrp="1"/>
          </p:cNvSpPr>
          <p:nvPr>
            <p:ph type="body" sz="quarter" idx="18" hasCustomPrompt="1"/>
          </p:nvPr>
        </p:nvSpPr>
        <p:spPr>
          <a:xfrm>
            <a:off x="614422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0" name="Friform 79">
            <a:extLst>
              <a:ext uri="{FF2B5EF4-FFF2-40B4-BE49-F238E27FC236}">
                <a16:creationId xmlns:a16="http://schemas.microsoft.com/office/drawing/2014/main" id="{809FFEDF-1D02-0305-3219-665060FD9D98}"/>
              </a:ext>
            </a:extLst>
          </p:cNvPr>
          <p:cNvSpPr>
            <a:spLocks noGrp="1"/>
          </p:cNvSpPr>
          <p:nvPr>
            <p:ph type="body" sz="quarter" idx="19" hasCustomPrompt="1"/>
          </p:nvPr>
        </p:nvSpPr>
        <p:spPr>
          <a:xfrm>
            <a:off x="7893516"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2"/>
          </a:solidFill>
          <a:ln>
            <a:noFill/>
          </a:ln>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1" name="Friform 80">
            <a:extLst>
              <a:ext uri="{FF2B5EF4-FFF2-40B4-BE49-F238E27FC236}">
                <a16:creationId xmlns:a16="http://schemas.microsoft.com/office/drawing/2014/main" id="{8C693893-89CF-A3CB-0C1D-E5E0D9FF6F2E}"/>
              </a:ext>
            </a:extLst>
          </p:cNvPr>
          <p:cNvSpPr>
            <a:spLocks noGrp="1"/>
          </p:cNvSpPr>
          <p:nvPr>
            <p:ph type="body" sz="quarter" idx="20" hasCustomPrompt="1"/>
          </p:nvPr>
        </p:nvSpPr>
        <p:spPr>
          <a:xfrm>
            <a:off x="965075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Tree>
    <p:extLst>
      <p:ext uri="{BB962C8B-B14F-4D97-AF65-F5344CB8AC3E}">
        <p14:creationId xmlns:p14="http://schemas.microsoft.com/office/powerpoint/2010/main" val="2595252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s 3 light">
    <p:spTree>
      <p:nvGrpSpPr>
        <p:cNvPr id="1" name=""/>
        <p:cNvGrpSpPr/>
        <p:nvPr/>
      </p:nvGrpSpPr>
      <p:grpSpPr>
        <a:xfrm>
          <a:off x="0" y="0"/>
          <a:ext cx="0" cy="0"/>
          <a:chOff x="0" y="0"/>
          <a:chExt cx="0" cy="0"/>
        </a:xfrm>
      </p:grpSpPr>
      <p:sp>
        <p:nvSpPr>
          <p:cNvPr id="28" name="Plassholder for tekst 5">
            <a:extLst>
              <a:ext uri="{FF2B5EF4-FFF2-40B4-BE49-F238E27FC236}">
                <a16:creationId xmlns:a16="http://schemas.microsoft.com/office/drawing/2014/main" id="{9CDB4017-BE49-888F-20E3-874213045C5A}"/>
              </a:ext>
            </a:extLst>
          </p:cNvPr>
          <p:cNvSpPr>
            <a:spLocks noGrp="1"/>
          </p:cNvSpPr>
          <p:nvPr>
            <p:ph type="body" sz="quarter" idx="30" hasCustomPrompt="1"/>
          </p:nvPr>
        </p:nvSpPr>
        <p:spPr>
          <a:xfrm>
            <a:off x="4509679" y="1840621"/>
            <a:ext cx="3138214" cy="3138214"/>
          </a:xfrm>
          <a:prstGeom prst="ellipse">
            <a:avLst/>
          </a:prstGeom>
          <a:solidFill>
            <a:schemeClr val="bg2"/>
          </a:solidFill>
          <a:ln w="31750">
            <a:noFill/>
          </a:ln>
        </p:spPr>
        <p:txBody>
          <a:bodyPr/>
          <a:lstStyle>
            <a:lvl1pPr marL="0" indent="0">
              <a:buNone/>
              <a:defRPr/>
            </a:lvl1pPr>
          </a:lstStyle>
          <a:p>
            <a:pPr lvl="0"/>
            <a:r>
              <a:rPr lang="nb-NO"/>
              <a:t> </a:t>
            </a:r>
          </a:p>
        </p:txBody>
      </p:sp>
      <p:sp>
        <p:nvSpPr>
          <p:cNvPr id="27" name="Plassholder for tekst 5">
            <a:extLst>
              <a:ext uri="{FF2B5EF4-FFF2-40B4-BE49-F238E27FC236}">
                <a16:creationId xmlns:a16="http://schemas.microsoft.com/office/drawing/2014/main" id="{5A757843-C894-C2DE-32D9-3DB09E822784}"/>
              </a:ext>
            </a:extLst>
          </p:cNvPr>
          <p:cNvSpPr>
            <a:spLocks noGrp="1"/>
          </p:cNvSpPr>
          <p:nvPr>
            <p:ph type="body" sz="quarter" idx="29" hasCustomPrompt="1"/>
          </p:nvPr>
        </p:nvSpPr>
        <p:spPr>
          <a:xfrm>
            <a:off x="3633746" y="1150864"/>
            <a:ext cx="4726185" cy="4571987"/>
          </a:xfrm>
          <a:prstGeom prst="ellipse">
            <a:avLst/>
          </a:prstGeom>
          <a:noFill/>
          <a:ln w="25400">
            <a:solidFill>
              <a:schemeClr val="tx2"/>
            </a:solidFill>
          </a:ln>
        </p:spPr>
        <p:txBody>
          <a:bodyPr/>
          <a:lstStyle>
            <a:lvl1pPr marL="0" indent="0">
              <a:buNone/>
              <a:defRPr/>
            </a:lvl1pPr>
          </a:lstStyle>
          <a:p>
            <a:pPr lvl="0"/>
            <a:r>
              <a:rPr lang="nb-NO"/>
              <a:t> </a:t>
            </a:r>
          </a:p>
        </p:txBody>
      </p:sp>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4" name="Plassholder for tekst 3">
            <a:extLst>
              <a:ext uri="{FF2B5EF4-FFF2-40B4-BE49-F238E27FC236}">
                <a16:creationId xmlns:a16="http://schemas.microsoft.com/office/drawing/2014/main" id="{5B486864-91FD-3583-D495-63D845FD6C69}"/>
              </a:ext>
            </a:extLst>
          </p:cNvPr>
          <p:cNvSpPr>
            <a:spLocks noGrp="1"/>
          </p:cNvSpPr>
          <p:nvPr>
            <p:ph type="body" sz="quarter" idx="20" hasCustomPrompt="1"/>
          </p:nvPr>
        </p:nvSpPr>
        <p:spPr>
          <a:xfrm>
            <a:off x="4709544" y="2579067"/>
            <a:ext cx="2659925" cy="1719407"/>
          </a:xfrm>
          <a:prstGeom prst="rect">
            <a:avLst/>
          </a:prstGeom>
        </p:spPr>
        <p:txBody>
          <a:bodyPr anchor="ctr"/>
          <a:lstStyle>
            <a:lvl1pPr marL="0" indent="0" algn="ctr">
              <a:buNone/>
              <a:defRPr b="0" i="0">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9BB7B2D1-A53A-76A4-88A6-E19733835CB5}"/>
              </a:ext>
            </a:extLst>
          </p:cNvPr>
          <p:cNvSpPr>
            <a:spLocks noGrp="1"/>
          </p:cNvSpPr>
          <p:nvPr>
            <p:ph type="body" sz="quarter" idx="21" hasCustomPrompt="1"/>
          </p:nvPr>
        </p:nvSpPr>
        <p:spPr>
          <a:xfrm>
            <a:off x="4075737" y="1380294"/>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7" name="Plassholder for tekst 5">
            <a:extLst>
              <a:ext uri="{FF2B5EF4-FFF2-40B4-BE49-F238E27FC236}">
                <a16:creationId xmlns:a16="http://schemas.microsoft.com/office/drawing/2014/main" id="{E1C153C7-2794-B855-B0C8-58F2F25B585A}"/>
              </a:ext>
            </a:extLst>
          </p:cNvPr>
          <p:cNvSpPr>
            <a:spLocks noGrp="1"/>
          </p:cNvSpPr>
          <p:nvPr>
            <p:ph type="body" sz="quarter" idx="22" hasCustomPrompt="1"/>
          </p:nvPr>
        </p:nvSpPr>
        <p:spPr>
          <a:xfrm>
            <a:off x="5740454" y="834936"/>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8" name="Plassholder for tekst 5">
            <a:extLst>
              <a:ext uri="{FF2B5EF4-FFF2-40B4-BE49-F238E27FC236}">
                <a16:creationId xmlns:a16="http://schemas.microsoft.com/office/drawing/2014/main" id="{1C292E1C-BC77-1DE4-3737-FC0EF1DB8A7D}"/>
              </a:ext>
            </a:extLst>
          </p:cNvPr>
          <p:cNvSpPr>
            <a:spLocks noGrp="1"/>
          </p:cNvSpPr>
          <p:nvPr>
            <p:ph type="body" sz="quarter" idx="23" hasCustomPrompt="1"/>
          </p:nvPr>
        </p:nvSpPr>
        <p:spPr>
          <a:xfrm>
            <a:off x="7266231" y="1374951"/>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9" name="Plassholder for tekst 5">
            <a:extLst>
              <a:ext uri="{FF2B5EF4-FFF2-40B4-BE49-F238E27FC236}">
                <a16:creationId xmlns:a16="http://schemas.microsoft.com/office/drawing/2014/main" id="{05DFA14B-5682-D3EB-B0BC-1D48BF516D86}"/>
              </a:ext>
            </a:extLst>
          </p:cNvPr>
          <p:cNvSpPr>
            <a:spLocks noGrp="1"/>
          </p:cNvSpPr>
          <p:nvPr>
            <p:ph type="body" sz="quarter" idx="24" hasCustomPrompt="1"/>
          </p:nvPr>
        </p:nvSpPr>
        <p:spPr>
          <a:xfrm>
            <a:off x="7974510" y="2989065"/>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13" name="Plassholder for tekst 5">
            <a:extLst>
              <a:ext uri="{FF2B5EF4-FFF2-40B4-BE49-F238E27FC236}">
                <a16:creationId xmlns:a16="http://schemas.microsoft.com/office/drawing/2014/main" id="{219505B2-8C17-4F1A-2C0D-DE23F36EBAB0}"/>
              </a:ext>
            </a:extLst>
          </p:cNvPr>
          <p:cNvSpPr>
            <a:spLocks noGrp="1"/>
          </p:cNvSpPr>
          <p:nvPr>
            <p:ph type="body" sz="quarter" idx="25" hasCustomPrompt="1"/>
          </p:nvPr>
        </p:nvSpPr>
        <p:spPr>
          <a:xfrm>
            <a:off x="7404216" y="46190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4" name="Plassholder for tekst 5">
            <a:extLst>
              <a:ext uri="{FF2B5EF4-FFF2-40B4-BE49-F238E27FC236}">
                <a16:creationId xmlns:a16="http://schemas.microsoft.com/office/drawing/2014/main" id="{F0344697-590B-C6FE-5ABE-68A43CEA954A}"/>
              </a:ext>
            </a:extLst>
          </p:cNvPr>
          <p:cNvSpPr>
            <a:spLocks noGrp="1"/>
          </p:cNvSpPr>
          <p:nvPr>
            <p:ph type="body" sz="quarter" idx="26" hasCustomPrompt="1"/>
          </p:nvPr>
        </p:nvSpPr>
        <p:spPr>
          <a:xfrm>
            <a:off x="5740454" y="53362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5" name="Plassholder for tekst 5">
            <a:extLst>
              <a:ext uri="{FF2B5EF4-FFF2-40B4-BE49-F238E27FC236}">
                <a16:creationId xmlns:a16="http://schemas.microsoft.com/office/drawing/2014/main" id="{4C91EE00-314B-8844-6BC6-C758BEBF7D64}"/>
              </a:ext>
            </a:extLst>
          </p:cNvPr>
          <p:cNvSpPr>
            <a:spLocks noGrp="1"/>
          </p:cNvSpPr>
          <p:nvPr>
            <p:ph type="body" sz="quarter" idx="27" hasCustomPrompt="1"/>
          </p:nvPr>
        </p:nvSpPr>
        <p:spPr>
          <a:xfrm>
            <a:off x="3897628" y="46190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6" name="Plassholder for tekst 5">
            <a:extLst>
              <a:ext uri="{FF2B5EF4-FFF2-40B4-BE49-F238E27FC236}">
                <a16:creationId xmlns:a16="http://schemas.microsoft.com/office/drawing/2014/main" id="{F5CA0D37-B617-0C9A-D510-781C28F93398}"/>
              </a:ext>
            </a:extLst>
          </p:cNvPr>
          <p:cNvSpPr>
            <a:spLocks noGrp="1"/>
          </p:cNvSpPr>
          <p:nvPr>
            <p:ph type="body" sz="quarter" idx="28" hasCustomPrompt="1"/>
          </p:nvPr>
        </p:nvSpPr>
        <p:spPr>
          <a:xfrm>
            <a:off x="3302180" y="2989064"/>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42" name="Plassholder for tekst 50">
            <a:extLst>
              <a:ext uri="{FF2B5EF4-FFF2-40B4-BE49-F238E27FC236}">
                <a16:creationId xmlns:a16="http://schemas.microsoft.com/office/drawing/2014/main" id="{7B5B94E5-3124-497D-2A2E-F0360569B581}"/>
              </a:ext>
            </a:extLst>
          </p:cNvPr>
          <p:cNvSpPr>
            <a:spLocks noGrp="1"/>
          </p:cNvSpPr>
          <p:nvPr>
            <p:ph type="body" sz="quarter" idx="13"/>
          </p:nvPr>
        </p:nvSpPr>
        <p:spPr>
          <a:xfrm>
            <a:off x="8845658" y="3031290"/>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Content </a:t>
            </a:r>
            <a:r>
              <a:rPr lang="nb-NO" err="1"/>
              <a:t>production</a:t>
            </a:r>
            <a:r>
              <a:rPr lang="nb-NO"/>
              <a:t>, </a:t>
            </a:r>
            <a:r>
              <a:rPr lang="nb-NO" err="1"/>
              <a:t>incl</a:t>
            </a:r>
            <a:r>
              <a:rPr lang="nb-NO"/>
              <a:t>. video</a:t>
            </a:r>
          </a:p>
        </p:txBody>
      </p:sp>
      <p:sp>
        <p:nvSpPr>
          <p:cNvPr id="43" name="Plassholder for tekst 51">
            <a:extLst>
              <a:ext uri="{FF2B5EF4-FFF2-40B4-BE49-F238E27FC236}">
                <a16:creationId xmlns:a16="http://schemas.microsoft.com/office/drawing/2014/main" id="{74F548DE-92C3-9B50-4277-C9EFDC6ED908}"/>
              </a:ext>
            </a:extLst>
          </p:cNvPr>
          <p:cNvSpPr>
            <a:spLocks noGrp="1"/>
          </p:cNvSpPr>
          <p:nvPr>
            <p:ph type="body" sz="quarter" idx="14"/>
          </p:nvPr>
        </p:nvSpPr>
        <p:spPr>
          <a:xfrm>
            <a:off x="4851144" y="430546"/>
            <a:ext cx="2386800" cy="362872"/>
          </a:xfrm>
          <a:prstGeom prst="roundRect">
            <a:avLst/>
          </a:prstGeom>
        </p:spPr>
        <p:txBody>
          <a:bodyPr/>
          <a:lstStyle>
            <a:lvl1pPr marL="0" indent="0" algn="ctr">
              <a:buNone/>
              <a:defRPr sz="1600" b="0" i="0">
                <a:latin typeface="Haffer Light" pitchFamily="2" charset="77"/>
                <a:cs typeface="Haffer Light" pitchFamily="2" charset="77"/>
              </a:defRPr>
            </a:lvl1pPr>
          </a:lstStyle>
          <a:p>
            <a:pPr algn="ctr"/>
            <a:r>
              <a:rPr lang="nb-NO"/>
              <a:t>PR</a:t>
            </a:r>
          </a:p>
        </p:txBody>
      </p:sp>
      <p:sp>
        <p:nvSpPr>
          <p:cNvPr id="44" name="Plassholder for tekst 52">
            <a:extLst>
              <a:ext uri="{FF2B5EF4-FFF2-40B4-BE49-F238E27FC236}">
                <a16:creationId xmlns:a16="http://schemas.microsoft.com/office/drawing/2014/main" id="{00086624-5EF4-744B-5787-A67226CC28CD}"/>
              </a:ext>
            </a:extLst>
          </p:cNvPr>
          <p:cNvSpPr>
            <a:spLocks noGrp="1"/>
          </p:cNvSpPr>
          <p:nvPr>
            <p:ph type="body" sz="quarter" idx="15"/>
          </p:nvPr>
        </p:nvSpPr>
        <p:spPr>
          <a:xfrm>
            <a:off x="1246946" y="4766516"/>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Visibility</a:t>
            </a:r>
            <a:r>
              <a:rPr lang="nb-NO"/>
              <a:t> in </a:t>
            </a:r>
            <a:r>
              <a:rPr lang="nb-NO" err="1"/>
              <a:t>new</a:t>
            </a:r>
            <a:r>
              <a:rPr lang="nb-NO"/>
              <a:t> </a:t>
            </a:r>
            <a:r>
              <a:rPr lang="nb-NO" err="1"/>
              <a:t>channels</a:t>
            </a:r>
            <a:r>
              <a:rPr lang="nb-NO"/>
              <a:t>?</a:t>
            </a:r>
          </a:p>
        </p:txBody>
      </p:sp>
      <p:sp>
        <p:nvSpPr>
          <p:cNvPr id="45" name="Plassholder for tekst 53">
            <a:extLst>
              <a:ext uri="{FF2B5EF4-FFF2-40B4-BE49-F238E27FC236}">
                <a16:creationId xmlns:a16="http://schemas.microsoft.com/office/drawing/2014/main" id="{A7CDEA16-3E8F-21D0-E2C6-F3E27858C5CF}"/>
              </a:ext>
            </a:extLst>
          </p:cNvPr>
          <p:cNvSpPr>
            <a:spLocks noGrp="1"/>
          </p:cNvSpPr>
          <p:nvPr>
            <p:ph type="body" sz="quarter" idx="16"/>
          </p:nvPr>
        </p:nvSpPr>
        <p:spPr>
          <a:xfrm>
            <a:off x="8359931" y="4769714"/>
            <a:ext cx="2736265"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Go-to-</a:t>
            </a:r>
            <a:r>
              <a:rPr lang="nb-NO" err="1"/>
              <a:t>market</a:t>
            </a:r>
            <a:r>
              <a:rPr lang="nb-NO"/>
              <a:t> </a:t>
            </a:r>
            <a:r>
              <a:rPr lang="nb-NO" err="1"/>
              <a:t>strategy</a:t>
            </a:r>
            <a:r>
              <a:rPr lang="nb-NO"/>
              <a:t> for </a:t>
            </a:r>
            <a:r>
              <a:rPr lang="nb-NO" err="1"/>
              <a:t>chosen</a:t>
            </a:r>
            <a:r>
              <a:rPr lang="nb-NO"/>
              <a:t> </a:t>
            </a:r>
            <a:r>
              <a:rPr lang="nb-NO" err="1"/>
              <a:t>markets</a:t>
            </a:r>
            <a:r>
              <a:rPr lang="nb-NO"/>
              <a:t>/</a:t>
            </a:r>
            <a:r>
              <a:rPr lang="nb-NO" err="1"/>
              <a:t>industries</a:t>
            </a:r>
            <a:endParaRPr lang="nb-NO"/>
          </a:p>
        </p:txBody>
      </p:sp>
      <p:sp>
        <p:nvSpPr>
          <p:cNvPr id="46" name="Plassholder for tekst 54">
            <a:extLst>
              <a:ext uri="{FF2B5EF4-FFF2-40B4-BE49-F238E27FC236}">
                <a16:creationId xmlns:a16="http://schemas.microsoft.com/office/drawing/2014/main" id="{6E1489DF-1E2B-FB05-887B-0C567567AC58}"/>
              </a:ext>
            </a:extLst>
          </p:cNvPr>
          <p:cNvSpPr>
            <a:spLocks noGrp="1"/>
          </p:cNvSpPr>
          <p:nvPr>
            <p:ph type="body" sz="quarter" idx="17"/>
          </p:nvPr>
        </p:nvSpPr>
        <p:spPr>
          <a:xfrm>
            <a:off x="8289307" y="1360863"/>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err="1"/>
              <a:t>Inbound</a:t>
            </a:r>
            <a:r>
              <a:rPr lang="nb-NO"/>
              <a:t> </a:t>
            </a:r>
            <a:r>
              <a:rPr lang="nb-NO" err="1"/>
              <a:t>marketing</a:t>
            </a:r>
            <a:r>
              <a:rPr lang="nb-NO"/>
              <a:t> </a:t>
            </a:r>
            <a:r>
              <a:rPr lang="nb-NO" err="1"/>
              <a:t>strategy</a:t>
            </a:r>
            <a:r>
              <a:rPr lang="nb-NO"/>
              <a:t> &amp; </a:t>
            </a:r>
            <a:r>
              <a:rPr lang="nb-NO" err="1"/>
              <a:t>campaign</a:t>
            </a:r>
            <a:r>
              <a:rPr lang="nb-NO"/>
              <a:t> planning</a:t>
            </a:r>
          </a:p>
        </p:txBody>
      </p:sp>
      <p:sp>
        <p:nvSpPr>
          <p:cNvPr id="47" name="Plassholder for tekst 55">
            <a:extLst>
              <a:ext uri="{FF2B5EF4-FFF2-40B4-BE49-F238E27FC236}">
                <a16:creationId xmlns:a16="http://schemas.microsoft.com/office/drawing/2014/main" id="{5FFC9AC6-C609-D742-F52E-7AED56BA0388}"/>
              </a:ext>
            </a:extLst>
          </p:cNvPr>
          <p:cNvSpPr>
            <a:spLocks noGrp="1"/>
          </p:cNvSpPr>
          <p:nvPr>
            <p:ph type="body" sz="quarter" idx="18"/>
          </p:nvPr>
        </p:nvSpPr>
        <p:spPr>
          <a:xfrm>
            <a:off x="749597" y="3090541"/>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Webinars</a:t>
            </a:r>
            <a:r>
              <a:rPr lang="nb-NO"/>
              <a:t> to </a:t>
            </a:r>
            <a:r>
              <a:rPr lang="nb-NO" err="1"/>
              <a:t>educate</a:t>
            </a:r>
            <a:r>
              <a:rPr lang="nb-NO"/>
              <a:t> </a:t>
            </a:r>
            <a:r>
              <a:rPr lang="nb-NO" err="1"/>
              <a:t>the</a:t>
            </a:r>
            <a:r>
              <a:rPr lang="nb-NO"/>
              <a:t> </a:t>
            </a:r>
            <a:r>
              <a:rPr lang="nb-NO" err="1"/>
              <a:t>industry</a:t>
            </a:r>
            <a:endParaRPr lang="nb-NO"/>
          </a:p>
        </p:txBody>
      </p:sp>
      <p:sp>
        <p:nvSpPr>
          <p:cNvPr id="49" name="Plassholder for tekst 56">
            <a:extLst>
              <a:ext uri="{FF2B5EF4-FFF2-40B4-BE49-F238E27FC236}">
                <a16:creationId xmlns:a16="http://schemas.microsoft.com/office/drawing/2014/main" id="{945A3DA5-DA47-FF4C-0F8B-1CD159D624A5}"/>
              </a:ext>
            </a:extLst>
          </p:cNvPr>
          <p:cNvSpPr>
            <a:spLocks noGrp="1"/>
          </p:cNvSpPr>
          <p:nvPr>
            <p:ph type="body" sz="quarter" idx="32"/>
          </p:nvPr>
        </p:nvSpPr>
        <p:spPr>
          <a:xfrm>
            <a:off x="3820051" y="6175277"/>
            <a:ext cx="4653823" cy="756875"/>
          </a:xfrm>
          <a:prstGeom prst="roundRect">
            <a:avLst/>
          </a:prstGeom>
        </p:spPr>
        <p:txBody>
          <a:bodyPr/>
          <a:lstStyle>
            <a:lvl1pPr marL="0" indent="0" algn="ctr">
              <a:buFontTx/>
              <a:buNone/>
              <a:defRPr sz="1600" b="0" i="0">
                <a:latin typeface="Haffer Light" pitchFamily="2" charset="77"/>
                <a:cs typeface="Haffer Light" pitchFamily="2" charset="77"/>
              </a:defRPr>
            </a:lvl1pPr>
          </a:lstStyle>
          <a:p>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51" name="Plassholder for tekst 57">
            <a:extLst>
              <a:ext uri="{FF2B5EF4-FFF2-40B4-BE49-F238E27FC236}">
                <a16:creationId xmlns:a16="http://schemas.microsoft.com/office/drawing/2014/main" id="{2C0BCCB4-BD88-1773-B464-5AC6B6385E96}"/>
              </a:ext>
            </a:extLst>
          </p:cNvPr>
          <p:cNvSpPr>
            <a:spLocks noGrp="1"/>
          </p:cNvSpPr>
          <p:nvPr>
            <p:ph type="body" sz="quarter" idx="33"/>
          </p:nvPr>
        </p:nvSpPr>
        <p:spPr>
          <a:xfrm>
            <a:off x="1433251" y="1360863"/>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a:t>Professional </a:t>
            </a:r>
            <a:r>
              <a:rPr lang="nb-NO" err="1"/>
              <a:t>visual</a:t>
            </a:r>
            <a:r>
              <a:rPr lang="nb-NO"/>
              <a:t> brand </a:t>
            </a:r>
            <a:r>
              <a:rPr lang="nb-NO" err="1"/>
              <a:t>identity</a:t>
            </a:r>
            <a:endParaRPr lang="nb-NO"/>
          </a:p>
        </p:txBody>
      </p:sp>
    </p:spTree>
    <p:extLst>
      <p:ext uri="{BB962C8B-B14F-4D97-AF65-F5344CB8AC3E}">
        <p14:creationId xmlns:p14="http://schemas.microsoft.com/office/powerpoint/2010/main" val="2321523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xEl>
                                              <p:pRg st="0" end="0"/>
                                            </p:txEl>
                                          </p:spTgt>
                                        </p:tgtEl>
                                        <p:attrNameLst>
                                          <p:attrName>style.visibility</p:attrName>
                                        </p:attrNameLst>
                                      </p:cBhvr>
                                      <p:to>
                                        <p:strVal val="visible"/>
                                      </p:to>
                                    </p:set>
                                    <p:animEffect transition="in" filter="fade">
                                      <p:cBhvr>
                                        <p:cTn id="11" dur="500"/>
                                        <p:tgtEl>
                                          <p:spTgt spid="46">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2">
                                            <p:txEl>
                                              <p:pRg st="0" end="0"/>
                                            </p:txEl>
                                          </p:spTgt>
                                        </p:tgtEl>
                                        <p:attrNameLst>
                                          <p:attrName>style.visibility</p:attrName>
                                        </p:attrNameLst>
                                      </p:cBhvr>
                                      <p:to>
                                        <p:strVal val="visible"/>
                                      </p:to>
                                    </p:set>
                                    <p:animEffect transition="in" filter="fade">
                                      <p:cBhvr>
                                        <p:cTn id="15" dur="500"/>
                                        <p:tgtEl>
                                          <p:spTgt spid="42">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xEl>
                                              <p:pRg st="0" end="0"/>
                                            </p:txEl>
                                          </p:spTgt>
                                        </p:tgtEl>
                                        <p:attrNameLst>
                                          <p:attrName>style.visibility</p:attrName>
                                        </p:attrNameLst>
                                      </p:cBhvr>
                                      <p:to>
                                        <p:strVal val="visible"/>
                                      </p:to>
                                    </p:set>
                                    <p:animEffect transition="in" filter="fade">
                                      <p:cBhvr>
                                        <p:cTn id="19" dur="500"/>
                                        <p:tgtEl>
                                          <p:spTgt spid="4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9">
                                            <p:txEl>
                                              <p:pRg st="0" end="0"/>
                                            </p:txEl>
                                          </p:spTgt>
                                        </p:tgtEl>
                                        <p:attrNameLst>
                                          <p:attrName>style.visibility</p:attrName>
                                        </p:attrNameLst>
                                      </p:cBhvr>
                                      <p:to>
                                        <p:strVal val="visible"/>
                                      </p:to>
                                    </p:set>
                                    <p:animEffect transition="in" filter="fade">
                                      <p:cBhvr>
                                        <p:cTn id="23" dur="500"/>
                                        <p:tgtEl>
                                          <p:spTgt spid="49">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4">
                                            <p:txEl>
                                              <p:pRg st="0" end="0"/>
                                            </p:txEl>
                                          </p:spTgt>
                                        </p:tgtEl>
                                        <p:attrNameLst>
                                          <p:attrName>style.visibility</p:attrName>
                                        </p:attrNameLst>
                                      </p:cBhvr>
                                      <p:to>
                                        <p:strVal val="visible"/>
                                      </p:to>
                                    </p:set>
                                    <p:animEffect transition="in" filter="fade">
                                      <p:cBhvr>
                                        <p:cTn id="27" dur="500"/>
                                        <p:tgtEl>
                                          <p:spTgt spid="44">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7">
                                            <p:txEl>
                                              <p:pRg st="0" end="0"/>
                                            </p:txEl>
                                          </p:spTgt>
                                        </p:tgtEl>
                                        <p:attrNameLst>
                                          <p:attrName>style.visibility</p:attrName>
                                        </p:attrNameLst>
                                      </p:cBhvr>
                                      <p:to>
                                        <p:strVal val="visible"/>
                                      </p:to>
                                    </p:set>
                                    <p:animEffect transition="in" filter="fade">
                                      <p:cBhvr>
                                        <p:cTn id="31" dur="500"/>
                                        <p:tgtEl>
                                          <p:spTgt spid="47">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1">
                                            <p:txEl>
                                              <p:pRg st="0" end="0"/>
                                            </p:txEl>
                                          </p:spTgt>
                                        </p:tgtEl>
                                        <p:attrNameLst>
                                          <p:attrName>style.visibility</p:attrName>
                                        </p:attrNameLst>
                                      </p:cBhvr>
                                      <p:to>
                                        <p:strVal val="visible"/>
                                      </p:to>
                                    </p:set>
                                    <p:animEffect transition="in" filter="fade">
                                      <p:cBhvr>
                                        <p:cTn id="35"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tmplLst>
          <p:tmpl lvl="1">
            <p:tnLst>
              <p:par>
                <p:cTn presetID="10" presetClass="entr" presetSubtype="0" fill="hold" nodeType="afterEffect">
                  <p:stCondLst>
                    <p:cond delay="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4" grpId="0" build="p">
        <p:tmplLst>
          <p:tmpl lvl="1">
            <p:tnLst>
              <p:par>
                <p:cTn presetID="10" presetClass="entr" presetSubtype="0" fill="hold" nodeType="afterEffect">
                  <p:stCondLst>
                    <p:cond delay="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childTnLst>
                </p:cTn>
              </p:par>
            </p:tnLst>
          </p:tmpl>
        </p:tmplLst>
      </p:bldP>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6" grpId="0" build="p">
        <p:tmplLst>
          <p:tmpl lvl="1">
            <p:tnLst>
              <p:par>
                <p:cTn presetID="10" presetClass="entr" presetSubtype="0" fill="hold" nodeType="afterEffect">
                  <p:stCondLst>
                    <p:cond delay="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7" grpId="0" build="p">
        <p:tmplLst>
          <p:tmpl lvl="1">
            <p:tnLst>
              <p:par>
                <p:cTn presetID="10" presetClass="entr" presetSubtype="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P spid="49" grpId="0" build="p">
        <p:tmplLst>
          <p:tmpl lvl="1">
            <p:tnLst>
              <p:par>
                <p:cTn presetID="10" presetClass="entr" presetSubtype="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Effect transition="in" filter="fade">
                      <p:cBhvr>
                        <p:cTn dur="500"/>
                        <p:tgtEl>
                          <p:spTgt spid="49"/>
                        </p:tgtEl>
                      </p:cBhvr>
                    </p:animEffect>
                  </p:childTnLst>
                </p:cTn>
              </p:par>
            </p:tnLst>
          </p:tmpl>
        </p:tmplLst>
      </p:bldP>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phics 3 Dark">
    <p:bg>
      <p:bgRef idx="1001">
        <a:schemeClr val="bg2"/>
      </p:bgRef>
    </p:bg>
    <p:spTree>
      <p:nvGrpSpPr>
        <p:cNvPr id="1" name=""/>
        <p:cNvGrpSpPr/>
        <p:nvPr/>
      </p:nvGrpSpPr>
      <p:grpSpPr>
        <a:xfrm>
          <a:off x="0" y="0"/>
          <a:ext cx="0" cy="0"/>
          <a:chOff x="0" y="0"/>
          <a:chExt cx="0" cy="0"/>
        </a:xfrm>
      </p:grpSpPr>
      <p:sp>
        <p:nvSpPr>
          <p:cNvPr id="28" name="Plassholder for tekst 5">
            <a:extLst>
              <a:ext uri="{FF2B5EF4-FFF2-40B4-BE49-F238E27FC236}">
                <a16:creationId xmlns:a16="http://schemas.microsoft.com/office/drawing/2014/main" id="{9CDB4017-BE49-888F-20E3-874213045C5A}"/>
              </a:ext>
            </a:extLst>
          </p:cNvPr>
          <p:cNvSpPr>
            <a:spLocks noGrp="1"/>
          </p:cNvSpPr>
          <p:nvPr>
            <p:ph type="body" sz="quarter" idx="30" hasCustomPrompt="1"/>
          </p:nvPr>
        </p:nvSpPr>
        <p:spPr>
          <a:xfrm>
            <a:off x="4509679" y="1840621"/>
            <a:ext cx="3138214" cy="3138214"/>
          </a:xfrm>
          <a:prstGeom prst="ellipse">
            <a:avLst/>
          </a:prstGeom>
          <a:solidFill>
            <a:schemeClr val="tx1"/>
          </a:solidFill>
          <a:ln w="31750">
            <a:noFill/>
          </a:ln>
        </p:spPr>
        <p:txBody>
          <a:bodyPr/>
          <a:lstStyle>
            <a:lvl1pPr marL="0" indent="0">
              <a:buNone/>
              <a:defRPr/>
            </a:lvl1pPr>
          </a:lstStyle>
          <a:p>
            <a:pPr lvl="0"/>
            <a:r>
              <a:rPr lang="nb-NO"/>
              <a:t> </a:t>
            </a:r>
          </a:p>
        </p:txBody>
      </p:sp>
      <p:sp>
        <p:nvSpPr>
          <p:cNvPr id="27" name="Plassholder for tekst 5">
            <a:extLst>
              <a:ext uri="{FF2B5EF4-FFF2-40B4-BE49-F238E27FC236}">
                <a16:creationId xmlns:a16="http://schemas.microsoft.com/office/drawing/2014/main" id="{5A757843-C894-C2DE-32D9-3DB09E822784}"/>
              </a:ext>
            </a:extLst>
          </p:cNvPr>
          <p:cNvSpPr>
            <a:spLocks noGrp="1"/>
          </p:cNvSpPr>
          <p:nvPr>
            <p:ph type="body" sz="quarter" idx="29" hasCustomPrompt="1"/>
          </p:nvPr>
        </p:nvSpPr>
        <p:spPr>
          <a:xfrm>
            <a:off x="3633746" y="1150864"/>
            <a:ext cx="4726185" cy="4571987"/>
          </a:xfrm>
          <a:prstGeom prst="ellipse">
            <a:avLst/>
          </a:prstGeom>
          <a:noFill/>
          <a:ln w="25400">
            <a:solidFill>
              <a:schemeClr val="tx2"/>
            </a:solidFill>
          </a:ln>
        </p:spPr>
        <p:txBody>
          <a:bodyPr/>
          <a:lstStyle>
            <a:lvl1pPr marL="0" indent="0">
              <a:buNone/>
              <a:defRPr/>
            </a:lvl1pPr>
          </a:lstStyle>
          <a:p>
            <a:pPr lvl="0"/>
            <a:r>
              <a:rPr lang="nb-NO"/>
              <a:t> </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4" name="Plassholder for tekst 3">
            <a:extLst>
              <a:ext uri="{FF2B5EF4-FFF2-40B4-BE49-F238E27FC236}">
                <a16:creationId xmlns:a16="http://schemas.microsoft.com/office/drawing/2014/main" id="{5B486864-91FD-3583-D495-63D845FD6C69}"/>
              </a:ext>
            </a:extLst>
          </p:cNvPr>
          <p:cNvSpPr>
            <a:spLocks noGrp="1"/>
          </p:cNvSpPr>
          <p:nvPr>
            <p:ph type="body" sz="quarter" idx="20" hasCustomPrompt="1"/>
          </p:nvPr>
        </p:nvSpPr>
        <p:spPr>
          <a:xfrm>
            <a:off x="4709544" y="2579067"/>
            <a:ext cx="2659925" cy="1719407"/>
          </a:xfrm>
          <a:prstGeom prst="rect">
            <a:avLst/>
          </a:prstGeom>
        </p:spPr>
        <p:txBody>
          <a:bodyPr anchor="ctr"/>
          <a:lstStyle>
            <a:lvl1pPr marL="0" indent="0" algn="ctr">
              <a:buNone/>
              <a:defRPr b="0" i="0">
                <a:solidFill>
                  <a:schemeClr val="bg2"/>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9BB7B2D1-A53A-76A4-88A6-E19733835CB5}"/>
              </a:ext>
            </a:extLst>
          </p:cNvPr>
          <p:cNvSpPr>
            <a:spLocks noGrp="1"/>
          </p:cNvSpPr>
          <p:nvPr>
            <p:ph type="body" sz="quarter" idx="21" hasCustomPrompt="1"/>
          </p:nvPr>
        </p:nvSpPr>
        <p:spPr>
          <a:xfrm>
            <a:off x="4075737" y="1380294"/>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7" name="Plassholder for tekst 5">
            <a:extLst>
              <a:ext uri="{FF2B5EF4-FFF2-40B4-BE49-F238E27FC236}">
                <a16:creationId xmlns:a16="http://schemas.microsoft.com/office/drawing/2014/main" id="{E1C153C7-2794-B855-B0C8-58F2F25B585A}"/>
              </a:ext>
            </a:extLst>
          </p:cNvPr>
          <p:cNvSpPr>
            <a:spLocks noGrp="1"/>
          </p:cNvSpPr>
          <p:nvPr>
            <p:ph type="body" sz="quarter" idx="22" hasCustomPrompt="1"/>
          </p:nvPr>
        </p:nvSpPr>
        <p:spPr>
          <a:xfrm>
            <a:off x="5740454" y="834936"/>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8" name="Plassholder for tekst 5">
            <a:extLst>
              <a:ext uri="{FF2B5EF4-FFF2-40B4-BE49-F238E27FC236}">
                <a16:creationId xmlns:a16="http://schemas.microsoft.com/office/drawing/2014/main" id="{1C292E1C-BC77-1DE4-3737-FC0EF1DB8A7D}"/>
              </a:ext>
            </a:extLst>
          </p:cNvPr>
          <p:cNvSpPr>
            <a:spLocks noGrp="1"/>
          </p:cNvSpPr>
          <p:nvPr>
            <p:ph type="body" sz="quarter" idx="23" hasCustomPrompt="1"/>
          </p:nvPr>
        </p:nvSpPr>
        <p:spPr>
          <a:xfrm>
            <a:off x="7266231" y="1374951"/>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9" name="Plassholder for tekst 5">
            <a:extLst>
              <a:ext uri="{FF2B5EF4-FFF2-40B4-BE49-F238E27FC236}">
                <a16:creationId xmlns:a16="http://schemas.microsoft.com/office/drawing/2014/main" id="{05DFA14B-5682-D3EB-B0BC-1D48BF516D86}"/>
              </a:ext>
            </a:extLst>
          </p:cNvPr>
          <p:cNvSpPr>
            <a:spLocks noGrp="1"/>
          </p:cNvSpPr>
          <p:nvPr>
            <p:ph type="body" sz="quarter" idx="24" hasCustomPrompt="1"/>
          </p:nvPr>
        </p:nvSpPr>
        <p:spPr>
          <a:xfrm>
            <a:off x="7974510" y="2989065"/>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13" name="Plassholder for tekst 5">
            <a:extLst>
              <a:ext uri="{FF2B5EF4-FFF2-40B4-BE49-F238E27FC236}">
                <a16:creationId xmlns:a16="http://schemas.microsoft.com/office/drawing/2014/main" id="{219505B2-8C17-4F1A-2C0D-DE23F36EBAB0}"/>
              </a:ext>
            </a:extLst>
          </p:cNvPr>
          <p:cNvSpPr>
            <a:spLocks noGrp="1"/>
          </p:cNvSpPr>
          <p:nvPr>
            <p:ph type="body" sz="quarter" idx="25" hasCustomPrompt="1"/>
          </p:nvPr>
        </p:nvSpPr>
        <p:spPr>
          <a:xfrm>
            <a:off x="7404216" y="46190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4" name="Plassholder for tekst 5">
            <a:extLst>
              <a:ext uri="{FF2B5EF4-FFF2-40B4-BE49-F238E27FC236}">
                <a16:creationId xmlns:a16="http://schemas.microsoft.com/office/drawing/2014/main" id="{F0344697-590B-C6FE-5ABE-68A43CEA954A}"/>
              </a:ext>
            </a:extLst>
          </p:cNvPr>
          <p:cNvSpPr>
            <a:spLocks noGrp="1"/>
          </p:cNvSpPr>
          <p:nvPr>
            <p:ph type="body" sz="quarter" idx="26" hasCustomPrompt="1"/>
          </p:nvPr>
        </p:nvSpPr>
        <p:spPr>
          <a:xfrm>
            <a:off x="5740454" y="53362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5" name="Plassholder for tekst 5">
            <a:extLst>
              <a:ext uri="{FF2B5EF4-FFF2-40B4-BE49-F238E27FC236}">
                <a16:creationId xmlns:a16="http://schemas.microsoft.com/office/drawing/2014/main" id="{4C91EE00-314B-8844-6BC6-C758BEBF7D64}"/>
              </a:ext>
            </a:extLst>
          </p:cNvPr>
          <p:cNvSpPr>
            <a:spLocks noGrp="1"/>
          </p:cNvSpPr>
          <p:nvPr>
            <p:ph type="body" sz="quarter" idx="27" hasCustomPrompt="1"/>
          </p:nvPr>
        </p:nvSpPr>
        <p:spPr>
          <a:xfrm>
            <a:off x="3897628" y="46190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6" name="Plassholder for tekst 5">
            <a:extLst>
              <a:ext uri="{FF2B5EF4-FFF2-40B4-BE49-F238E27FC236}">
                <a16:creationId xmlns:a16="http://schemas.microsoft.com/office/drawing/2014/main" id="{F5CA0D37-B617-0C9A-D510-781C28F93398}"/>
              </a:ext>
            </a:extLst>
          </p:cNvPr>
          <p:cNvSpPr>
            <a:spLocks noGrp="1"/>
          </p:cNvSpPr>
          <p:nvPr>
            <p:ph type="body" sz="quarter" idx="28" hasCustomPrompt="1"/>
          </p:nvPr>
        </p:nvSpPr>
        <p:spPr>
          <a:xfrm>
            <a:off x="3302180" y="2989064"/>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42" name="Plassholder for tekst 50">
            <a:extLst>
              <a:ext uri="{FF2B5EF4-FFF2-40B4-BE49-F238E27FC236}">
                <a16:creationId xmlns:a16="http://schemas.microsoft.com/office/drawing/2014/main" id="{7B5B94E5-3124-497D-2A2E-F0360569B581}"/>
              </a:ext>
            </a:extLst>
          </p:cNvPr>
          <p:cNvSpPr>
            <a:spLocks noGrp="1"/>
          </p:cNvSpPr>
          <p:nvPr>
            <p:ph type="body" sz="quarter" idx="13"/>
          </p:nvPr>
        </p:nvSpPr>
        <p:spPr>
          <a:xfrm>
            <a:off x="8845658" y="3031290"/>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Content </a:t>
            </a:r>
            <a:r>
              <a:rPr lang="nb-NO" err="1"/>
              <a:t>production</a:t>
            </a:r>
            <a:r>
              <a:rPr lang="nb-NO"/>
              <a:t>, </a:t>
            </a:r>
            <a:r>
              <a:rPr lang="nb-NO" err="1"/>
              <a:t>incl</a:t>
            </a:r>
            <a:r>
              <a:rPr lang="nb-NO"/>
              <a:t>. video</a:t>
            </a:r>
          </a:p>
        </p:txBody>
      </p:sp>
      <p:sp>
        <p:nvSpPr>
          <p:cNvPr id="43" name="Plassholder for tekst 51">
            <a:extLst>
              <a:ext uri="{FF2B5EF4-FFF2-40B4-BE49-F238E27FC236}">
                <a16:creationId xmlns:a16="http://schemas.microsoft.com/office/drawing/2014/main" id="{74F548DE-92C3-9B50-4277-C9EFDC6ED908}"/>
              </a:ext>
            </a:extLst>
          </p:cNvPr>
          <p:cNvSpPr>
            <a:spLocks noGrp="1"/>
          </p:cNvSpPr>
          <p:nvPr>
            <p:ph type="body" sz="quarter" idx="14"/>
          </p:nvPr>
        </p:nvSpPr>
        <p:spPr>
          <a:xfrm>
            <a:off x="4851144" y="430546"/>
            <a:ext cx="2386800" cy="362872"/>
          </a:xfrm>
          <a:prstGeom prst="roundRect">
            <a:avLst/>
          </a:prstGeom>
        </p:spPr>
        <p:txBody>
          <a:bodyPr/>
          <a:lstStyle>
            <a:lvl1pPr marL="0" indent="0" algn="ctr">
              <a:buNone/>
              <a:defRPr sz="1600" b="0" i="0">
                <a:latin typeface="Haffer Light" pitchFamily="2" charset="77"/>
                <a:cs typeface="Haffer Light" pitchFamily="2" charset="77"/>
              </a:defRPr>
            </a:lvl1pPr>
          </a:lstStyle>
          <a:p>
            <a:pPr algn="ctr"/>
            <a:r>
              <a:rPr lang="nb-NO"/>
              <a:t>PR</a:t>
            </a:r>
          </a:p>
        </p:txBody>
      </p:sp>
      <p:sp>
        <p:nvSpPr>
          <p:cNvPr id="44" name="Plassholder for tekst 52">
            <a:extLst>
              <a:ext uri="{FF2B5EF4-FFF2-40B4-BE49-F238E27FC236}">
                <a16:creationId xmlns:a16="http://schemas.microsoft.com/office/drawing/2014/main" id="{00086624-5EF4-744B-5787-A67226CC28CD}"/>
              </a:ext>
            </a:extLst>
          </p:cNvPr>
          <p:cNvSpPr>
            <a:spLocks noGrp="1"/>
          </p:cNvSpPr>
          <p:nvPr>
            <p:ph type="body" sz="quarter" idx="15"/>
          </p:nvPr>
        </p:nvSpPr>
        <p:spPr>
          <a:xfrm>
            <a:off x="1246946" y="4766516"/>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Visibility</a:t>
            </a:r>
            <a:r>
              <a:rPr lang="nb-NO"/>
              <a:t> in </a:t>
            </a:r>
            <a:r>
              <a:rPr lang="nb-NO" err="1"/>
              <a:t>new</a:t>
            </a:r>
            <a:r>
              <a:rPr lang="nb-NO"/>
              <a:t> </a:t>
            </a:r>
            <a:r>
              <a:rPr lang="nb-NO" err="1"/>
              <a:t>channels</a:t>
            </a:r>
            <a:r>
              <a:rPr lang="nb-NO"/>
              <a:t>?</a:t>
            </a:r>
          </a:p>
        </p:txBody>
      </p:sp>
      <p:sp>
        <p:nvSpPr>
          <p:cNvPr id="45" name="Plassholder for tekst 53">
            <a:extLst>
              <a:ext uri="{FF2B5EF4-FFF2-40B4-BE49-F238E27FC236}">
                <a16:creationId xmlns:a16="http://schemas.microsoft.com/office/drawing/2014/main" id="{A7CDEA16-3E8F-21D0-E2C6-F3E27858C5CF}"/>
              </a:ext>
            </a:extLst>
          </p:cNvPr>
          <p:cNvSpPr>
            <a:spLocks noGrp="1"/>
          </p:cNvSpPr>
          <p:nvPr>
            <p:ph type="body" sz="quarter" idx="16"/>
          </p:nvPr>
        </p:nvSpPr>
        <p:spPr>
          <a:xfrm>
            <a:off x="8359931" y="4769714"/>
            <a:ext cx="2736265"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Go-to-</a:t>
            </a:r>
            <a:r>
              <a:rPr lang="nb-NO" err="1"/>
              <a:t>market</a:t>
            </a:r>
            <a:r>
              <a:rPr lang="nb-NO"/>
              <a:t> </a:t>
            </a:r>
            <a:r>
              <a:rPr lang="nb-NO" err="1"/>
              <a:t>strategy</a:t>
            </a:r>
            <a:r>
              <a:rPr lang="nb-NO"/>
              <a:t> for </a:t>
            </a:r>
            <a:r>
              <a:rPr lang="nb-NO" err="1"/>
              <a:t>chosen</a:t>
            </a:r>
            <a:r>
              <a:rPr lang="nb-NO"/>
              <a:t> </a:t>
            </a:r>
            <a:r>
              <a:rPr lang="nb-NO" err="1"/>
              <a:t>markets</a:t>
            </a:r>
            <a:r>
              <a:rPr lang="nb-NO"/>
              <a:t>/</a:t>
            </a:r>
            <a:r>
              <a:rPr lang="nb-NO" err="1"/>
              <a:t>industries</a:t>
            </a:r>
            <a:endParaRPr lang="nb-NO"/>
          </a:p>
        </p:txBody>
      </p:sp>
      <p:sp>
        <p:nvSpPr>
          <p:cNvPr id="46" name="Plassholder for tekst 54">
            <a:extLst>
              <a:ext uri="{FF2B5EF4-FFF2-40B4-BE49-F238E27FC236}">
                <a16:creationId xmlns:a16="http://schemas.microsoft.com/office/drawing/2014/main" id="{6E1489DF-1E2B-FB05-887B-0C567567AC58}"/>
              </a:ext>
            </a:extLst>
          </p:cNvPr>
          <p:cNvSpPr>
            <a:spLocks noGrp="1"/>
          </p:cNvSpPr>
          <p:nvPr>
            <p:ph type="body" sz="quarter" idx="17"/>
          </p:nvPr>
        </p:nvSpPr>
        <p:spPr>
          <a:xfrm>
            <a:off x="8289307" y="1360863"/>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err="1"/>
              <a:t>Inbound</a:t>
            </a:r>
            <a:r>
              <a:rPr lang="nb-NO"/>
              <a:t> </a:t>
            </a:r>
            <a:r>
              <a:rPr lang="nb-NO" err="1"/>
              <a:t>marketing</a:t>
            </a:r>
            <a:r>
              <a:rPr lang="nb-NO"/>
              <a:t> </a:t>
            </a:r>
            <a:r>
              <a:rPr lang="nb-NO" err="1"/>
              <a:t>strategy</a:t>
            </a:r>
            <a:r>
              <a:rPr lang="nb-NO"/>
              <a:t> &amp; </a:t>
            </a:r>
            <a:r>
              <a:rPr lang="nb-NO" err="1"/>
              <a:t>campaign</a:t>
            </a:r>
            <a:r>
              <a:rPr lang="nb-NO"/>
              <a:t> planning</a:t>
            </a:r>
          </a:p>
        </p:txBody>
      </p:sp>
      <p:sp>
        <p:nvSpPr>
          <p:cNvPr id="47" name="Plassholder for tekst 55">
            <a:extLst>
              <a:ext uri="{FF2B5EF4-FFF2-40B4-BE49-F238E27FC236}">
                <a16:creationId xmlns:a16="http://schemas.microsoft.com/office/drawing/2014/main" id="{5FFC9AC6-C609-D742-F52E-7AED56BA0388}"/>
              </a:ext>
            </a:extLst>
          </p:cNvPr>
          <p:cNvSpPr>
            <a:spLocks noGrp="1"/>
          </p:cNvSpPr>
          <p:nvPr>
            <p:ph type="body" sz="quarter" idx="18"/>
          </p:nvPr>
        </p:nvSpPr>
        <p:spPr>
          <a:xfrm>
            <a:off x="749597" y="3090541"/>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Webinars</a:t>
            </a:r>
            <a:r>
              <a:rPr lang="nb-NO"/>
              <a:t> to </a:t>
            </a:r>
            <a:r>
              <a:rPr lang="nb-NO" err="1"/>
              <a:t>educate</a:t>
            </a:r>
            <a:r>
              <a:rPr lang="nb-NO"/>
              <a:t> </a:t>
            </a:r>
            <a:r>
              <a:rPr lang="nb-NO" err="1"/>
              <a:t>the</a:t>
            </a:r>
            <a:r>
              <a:rPr lang="nb-NO"/>
              <a:t> </a:t>
            </a:r>
            <a:r>
              <a:rPr lang="nb-NO" err="1"/>
              <a:t>industry</a:t>
            </a:r>
            <a:endParaRPr lang="nb-NO"/>
          </a:p>
        </p:txBody>
      </p:sp>
      <p:sp>
        <p:nvSpPr>
          <p:cNvPr id="49" name="Plassholder for tekst 56">
            <a:extLst>
              <a:ext uri="{FF2B5EF4-FFF2-40B4-BE49-F238E27FC236}">
                <a16:creationId xmlns:a16="http://schemas.microsoft.com/office/drawing/2014/main" id="{945A3DA5-DA47-FF4C-0F8B-1CD159D624A5}"/>
              </a:ext>
            </a:extLst>
          </p:cNvPr>
          <p:cNvSpPr>
            <a:spLocks noGrp="1"/>
          </p:cNvSpPr>
          <p:nvPr>
            <p:ph type="body" sz="quarter" idx="32"/>
          </p:nvPr>
        </p:nvSpPr>
        <p:spPr>
          <a:xfrm>
            <a:off x="3820051" y="6175277"/>
            <a:ext cx="4653823" cy="756875"/>
          </a:xfrm>
          <a:prstGeom prst="roundRect">
            <a:avLst/>
          </a:prstGeom>
        </p:spPr>
        <p:txBody>
          <a:bodyPr/>
          <a:lstStyle>
            <a:lvl1pPr marL="0" indent="0" algn="ctr">
              <a:buFontTx/>
              <a:buNone/>
              <a:defRPr sz="1600" b="0" i="0">
                <a:latin typeface="Haffer Light" pitchFamily="2" charset="77"/>
                <a:cs typeface="Haffer Light" pitchFamily="2" charset="77"/>
              </a:defRPr>
            </a:lvl1pPr>
          </a:lstStyle>
          <a:p>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51" name="Plassholder for tekst 57">
            <a:extLst>
              <a:ext uri="{FF2B5EF4-FFF2-40B4-BE49-F238E27FC236}">
                <a16:creationId xmlns:a16="http://schemas.microsoft.com/office/drawing/2014/main" id="{2C0BCCB4-BD88-1773-B464-5AC6B6385E96}"/>
              </a:ext>
            </a:extLst>
          </p:cNvPr>
          <p:cNvSpPr>
            <a:spLocks noGrp="1"/>
          </p:cNvSpPr>
          <p:nvPr>
            <p:ph type="body" sz="quarter" idx="33"/>
          </p:nvPr>
        </p:nvSpPr>
        <p:spPr>
          <a:xfrm>
            <a:off x="1433251" y="1360863"/>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a:t>Professional </a:t>
            </a:r>
            <a:r>
              <a:rPr lang="nb-NO" err="1"/>
              <a:t>visual</a:t>
            </a:r>
            <a:r>
              <a:rPr lang="nb-NO"/>
              <a:t> brand </a:t>
            </a:r>
            <a:r>
              <a:rPr lang="nb-NO" err="1"/>
              <a:t>identity</a:t>
            </a:r>
            <a:endParaRPr lang="nb-NO"/>
          </a:p>
        </p:txBody>
      </p:sp>
      <p:pic>
        <p:nvPicPr>
          <p:cNvPr id="2" name="Grafikk 1">
            <a:extLst>
              <a:ext uri="{FF2B5EF4-FFF2-40B4-BE49-F238E27FC236}">
                <a16:creationId xmlns:a16="http://schemas.microsoft.com/office/drawing/2014/main" id="{BF79DC8A-D9A6-EFAD-A275-7ECFAAFB36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41014522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xEl>
                                              <p:pRg st="0" end="0"/>
                                            </p:txEl>
                                          </p:spTgt>
                                        </p:tgtEl>
                                        <p:attrNameLst>
                                          <p:attrName>style.visibility</p:attrName>
                                        </p:attrNameLst>
                                      </p:cBhvr>
                                      <p:to>
                                        <p:strVal val="visible"/>
                                      </p:to>
                                    </p:set>
                                    <p:animEffect transition="in" filter="fade">
                                      <p:cBhvr>
                                        <p:cTn id="11" dur="500"/>
                                        <p:tgtEl>
                                          <p:spTgt spid="46">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2">
                                            <p:txEl>
                                              <p:pRg st="0" end="0"/>
                                            </p:txEl>
                                          </p:spTgt>
                                        </p:tgtEl>
                                        <p:attrNameLst>
                                          <p:attrName>style.visibility</p:attrName>
                                        </p:attrNameLst>
                                      </p:cBhvr>
                                      <p:to>
                                        <p:strVal val="visible"/>
                                      </p:to>
                                    </p:set>
                                    <p:animEffect transition="in" filter="fade">
                                      <p:cBhvr>
                                        <p:cTn id="15" dur="500"/>
                                        <p:tgtEl>
                                          <p:spTgt spid="42">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xEl>
                                              <p:pRg st="0" end="0"/>
                                            </p:txEl>
                                          </p:spTgt>
                                        </p:tgtEl>
                                        <p:attrNameLst>
                                          <p:attrName>style.visibility</p:attrName>
                                        </p:attrNameLst>
                                      </p:cBhvr>
                                      <p:to>
                                        <p:strVal val="visible"/>
                                      </p:to>
                                    </p:set>
                                    <p:animEffect transition="in" filter="fade">
                                      <p:cBhvr>
                                        <p:cTn id="19" dur="500"/>
                                        <p:tgtEl>
                                          <p:spTgt spid="4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9">
                                            <p:txEl>
                                              <p:pRg st="0" end="0"/>
                                            </p:txEl>
                                          </p:spTgt>
                                        </p:tgtEl>
                                        <p:attrNameLst>
                                          <p:attrName>style.visibility</p:attrName>
                                        </p:attrNameLst>
                                      </p:cBhvr>
                                      <p:to>
                                        <p:strVal val="visible"/>
                                      </p:to>
                                    </p:set>
                                    <p:animEffect transition="in" filter="fade">
                                      <p:cBhvr>
                                        <p:cTn id="23" dur="500"/>
                                        <p:tgtEl>
                                          <p:spTgt spid="49">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4">
                                            <p:txEl>
                                              <p:pRg st="0" end="0"/>
                                            </p:txEl>
                                          </p:spTgt>
                                        </p:tgtEl>
                                        <p:attrNameLst>
                                          <p:attrName>style.visibility</p:attrName>
                                        </p:attrNameLst>
                                      </p:cBhvr>
                                      <p:to>
                                        <p:strVal val="visible"/>
                                      </p:to>
                                    </p:set>
                                    <p:animEffect transition="in" filter="fade">
                                      <p:cBhvr>
                                        <p:cTn id="27" dur="500"/>
                                        <p:tgtEl>
                                          <p:spTgt spid="44">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7">
                                            <p:txEl>
                                              <p:pRg st="0" end="0"/>
                                            </p:txEl>
                                          </p:spTgt>
                                        </p:tgtEl>
                                        <p:attrNameLst>
                                          <p:attrName>style.visibility</p:attrName>
                                        </p:attrNameLst>
                                      </p:cBhvr>
                                      <p:to>
                                        <p:strVal val="visible"/>
                                      </p:to>
                                    </p:set>
                                    <p:animEffect transition="in" filter="fade">
                                      <p:cBhvr>
                                        <p:cTn id="31" dur="500"/>
                                        <p:tgtEl>
                                          <p:spTgt spid="47">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1">
                                            <p:txEl>
                                              <p:pRg st="0" end="0"/>
                                            </p:txEl>
                                          </p:spTgt>
                                        </p:tgtEl>
                                        <p:attrNameLst>
                                          <p:attrName>style.visibility</p:attrName>
                                        </p:attrNameLst>
                                      </p:cBhvr>
                                      <p:to>
                                        <p:strVal val="visible"/>
                                      </p:to>
                                    </p:set>
                                    <p:animEffect transition="in" filter="fade">
                                      <p:cBhvr>
                                        <p:cTn id="35"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tmplLst>
          <p:tmpl lvl="1">
            <p:tnLst>
              <p:par>
                <p:cTn presetID="10" presetClass="entr" presetSubtype="0" fill="hold" nodeType="afterEffect">
                  <p:stCondLst>
                    <p:cond delay="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4" grpId="0" build="p">
        <p:tmplLst>
          <p:tmpl lvl="1">
            <p:tnLst>
              <p:par>
                <p:cTn presetID="10" presetClass="entr" presetSubtype="0" fill="hold" nodeType="afterEffect">
                  <p:stCondLst>
                    <p:cond delay="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childTnLst>
                </p:cTn>
              </p:par>
            </p:tnLst>
          </p:tmpl>
        </p:tmplLst>
      </p:bldP>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6" grpId="0" build="p">
        <p:tmplLst>
          <p:tmpl lvl="1">
            <p:tnLst>
              <p:par>
                <p:cTn presetID="10" presetClass="entr" presetSubtype="0" fill="hold" nodeType="afterEffect">
                  <p:stCondLst>
                    <p:cond delay="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7" grpId="0" build="p">
        <p:tmplLst>
          <p:tmpl lvl="1">
            <p:tnLst>
              <p:par>
                <p:cTn presetID="10" presetClass="entr" presetSubtype="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P spid="49" grpId="0" build="p">
        <p:tmplLst>
          <p:tmpl lvl="1">
            <p:tnLst>
              <p:par>
                <p:cTn presetID="10" presetClass="entr" presetSubtype="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Effect transition="in" filter="fade">
                      <p:cBhvr>
                        <p:cTn dur="500"/>
                        <p:tgtEl>
                          <p:spTgt spid="49"/>
                        </p:tgtEl>
                      </p:cBhvr>
                    </p:animEffect>
                  </p:childTnLst>
                </p:cTn>
              </p:par>
            </p:tnLst>
          </p:tmpl>
        </p:tmplLst>
      </p:bldP>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x 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4862293" cy="4096733"/>
          </a:xfrm>
          <a:prstGeom prst="rect">
            <a:avLst/>
          </a:prstGeom>
        </p:spPr>
        <p:txBody>
          <a:bodyPr/>
          <a:lstStyle>
            <a:lvl1pPr marL="0" indent="0">
              <a:buNone/>
              <a:defRPr/>
            </a:lvl1pPr>
          </a:lstStyle>
          <a:p>
            <a:pPr lvl="0"/>
            <a:r>
              <a:rPr lang="nb-NO" err="1"/>
              <a:t>Table</a:t>
            </a:r>
            <a:r>
              <a:rPr lang="nb-NO"/>
              <a:t>/diagram slide</a:t>
            </a:r>
          </a:p>
        </p:txBody>
      </p:sp>
      <p:sp>
        <p:nvSpPr>
          <p:cNvPr id="2" name="Plassholder for innhold 6">
            <a:extLst>
              <a:ext uri="{FF2B5EF4-FFF2-40B4-BE49-F238E27FC236}">
                <a16:creationId xmlns:a16="http://schemas.microsoft.com/office/drawing/2014/main" id="{3BB056B2-AB73-2C0D-D171-57B0E19CDD0F}"/>
              </a:ext>
            </a:extLst>
          </p:cNvPr>
          <p:cNvSpPr>
            <a:spLocks noGrp="1"/>
          </p:cNvSpPr>
          <p:nvPr>
            <p:ph sz="quarter" idx="14" hasCustomPrompt="1"/>
          </p:nvPr>
        </p:nvSpPr>
        <p:spPr>
          <a:xfrm>
            <a:off x="6369270" y="2178424"/>
            <a:ext cx="4845270" cy="4096733"/>
          </a:xfrm>
          <a:prstGeom prst="rect">
            <a:avLst/>
          </a:prstGeom>
        </p:spPr>
        <p:txBody>
          <a:bodyPr/>
          <a:lstStyle>
            <a:lvl1pPr marL="0" indent="0">
              <a:buNone/>
              <a:defRPr/>
            </a:lvl1pPr>
          </a:lstStyle>
          <a:p>
            <a:pPr lvl="0"/>
            <a:r>
              <a:rPr lang="nb-NO" err="1"/>
              <a:t>Table</a:t>
            </a:r>
            <a:r>
              <a:rPr lang="nb-NO"/>
              <a:t>/diagram slide</a:t>
            </a:r>
          </a:p>
        </p:txBody>
      </p:sp>
      <p:sp>
        <p:nvSpPr>
          <p:cNvPr id="3" name="Rektangel 2">
            <a:extLst>
              <a:ext uri="{FF2B5EF4-FFF2-40B4-BE49-F238E27FC236}">
                <a16:creationId xmlns:a16="http://schemas.microsoft.com/office/drawing/2014/main" id="{2F41C353-6034-3559-0B94-6253E70A09CB}"/>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1625250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animEffect transition="in" filter="fade">
                                      <p:cBhvr>
                                        <p:cTn id="15"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2" grpId="0" build="p">
        <p:tmplLst>
          <p:tmpl lvl="1">
            <p:tnLst>
              <p:par>
                <p:cTn presetID="10" presetClass="entr" presetSubtype="0" fill="hold" nodeType="after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10174287" cy="4096733"/>
          </a:xfrm>
          <a:prstGeom prst="rect">
            <a:avLst/>
          </a:prstGeom>
        </p:spPr>
        <p:txBody>
          <a:bodyPr/>
          <a:lstStyle>
            <a:lvl1pPr marL="0" indent="0">
              <a:buNone/>
              <a:defRPr/>
            </a:lvl1pPr>
          </a:lstStyle>
          <a:p>
            <a:pPr lvl="0"/>
            <a:r>
              <a:rPr lang="nb-NO" err="1"/>
              <a:t>Table</a:t>
            </a:r>
            <a:r>
              <a:rPr lang="nb-NO"/>
              <a:t>/diagram slide</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4084866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Bullets/Bodytext-Dark mo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C905B97D-755E-6240-4621-8D2305812C27}"/>
              </a:ext>
            </a:extLst>
          </p:cNvPr>
          <p:cNvSpPr/>
          <p:nvPr userDrawn="1"/>
        </p:nvSpPr>
        <p:spPr>
          <a:xfrm rot="5400000">
            <a:off x="2750536"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10" name="Grafikk 9">
            <a:extLst>
              <a:ext uri="{FF2B5EF4-FFF2-40B4-BE49-F238E27FC236}">
                <a16:creationId xmlns:a16="http://schemas.microsoft.com/office/drawing/2014/main" id="{DA177B15-787D-1BB6-535E-1B8AEE7F18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13" name="Plassholder for tekst 5">
            <a:extLst>
              <a:ext uri="{FF2B5EF4-FFF2-40B4-BE49-F238E27FC236}">
                <a16:creationId xmlns:a16="http://schemas.microsoft.com/office/drawing/2014/main" id="{07D3CFA2-1D04-8FEE-6767-EA2B9CF24C6C}"/>
              </a:ext>
            </a:extLst>
          </p:cNvPr>
          <p:cNvSpPr>
            <a:spLocks noGrp="1"/>
          </p:cNvSpPr>
          <p:nvPr>
            <p:ph type="body" sz="quarter" idx="16" hasCustomPrompt="1"/>
          </p:nvPr>
        </p:nvSpPr>
        <p:spPr>
          <a:xfrm>
            <a:off x="959978" y="2072789"/>
            <a:ext cx="10125074"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6" name="Bilde 15">
            <a:extLst>
              <a:ext uri="{FF2B5EF4-FFF2-40B4-BE49-F238E27FC236}">
                <a16:creationId xmlns:a16="http://schemas.microsoft.com/office/drawing/2014/main" id="{0EA9409F-7D93-8254-9BE0-55EF66824365}"/>
              </a:ext>
            </a:extLst>
          </p:cNvPr>
          <p:cNvPicPr>
            <a:picLocks noChangeAspect="1"/>
          </p:cNvPicPr>
          <p:nvPr userDrawn="1"/>
        </p:nvPicPr>
        <p:blipFill>
          <a:blip r:embed="rId4"/>
          <a:stretch>
            <a:fillRect/>
          </a:stretch>
        </p:blipFill>
        <p:spPr>
          <a:xfrm>
            <a:off x="5962650" y="3359150"/>
            <a:ext cx="266700" cy="139700"/>
          </a:xfrm>
          <a:prstGeom prst="rect">
            <a:avLst/>
          </a:prstGeom>
        </p:spPr>
      </p:pic>
    </p:spTree>
    <p:extLst>
      <p:ext uri="{BB962C8B-B14F-4D97-AF65-F5344CB8AC3E}">
        <p14:creationId xmlns:p14="http://schemas.microsoft.com/office/powerpoint/2010/main" val="59772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Bullet+Imagebubble-Dark mode">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03CACE40-95CF-2DF2-7DC6-928577C6DF71}"/>
              </a:ext>
            </a:extLst>
          </p:cNvPr>
          <p:cNvSpPr/>
          <p:nvPr userDrawn="1"/>
        </p:nvSpPr>
        <p:spPr>
          <a:xfrm rot="5400000">
            <a:off x="2750536"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19">
            <a:extLst>
              <a:ext uri="{FF2B5EF4-FFF2-40B4-BE49-F238E27FC236}">
                <a16:creationId xmlns:a16="http://schemas.microsoft.com/office/drawing/2014/main" id="{72C5993D-DB0E-DF91-3094-2988C6BD8BE8}"/>
              </a:ext>
            </a:extLst>
          </p:cNvPr>
          <p:cNvSpPr>
            <a:spLocks noGrp="1"/>
          </p:cNvSpPr>
          <p:nvPr>
            <p:ph type="body" sz="quarter" idx="10" hasCustomPrompt="1"/>
          </p:nvPr>
        </p:nvSpPr>
        <p:spPr>
          <a:xfrm>
            <a:off x="959978" y="498764"/>
            <a:ext cx="5917441"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2403DC52-F8D5-2D0B-F4FA-A3753032009F}"/>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tekst 5">
            <a:extLst>
              <a:ext uri="{FF2B5EF4-FFF2-40B4-BE49-F238E27FC236}">
                <a16:creationId xmlns:a16="http://schemas.microsoft.com/office/drawing/2014/main" id="{FE759D3D-8E7D-B5CC-3F1D-E66FAB0D800B}"/>
              </a:ext>
            </a:extLst>
          </p:cNvPr>
          <p:cNvSpPr>
            <a:spLocks noGrp="1"/>
          </p:cNvSpPr>
          <p:nvPr>
            <p:ph type="body" sz="quarter" idx="16" hasCustomPrompt="1"/>
          </p:nvPr>
        </p:nvSpPr>
        <p:spPr>
          <a:xfrm>
            <a:off x="959978" y="2072789"/>
            <a:ext cx="5804087"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121249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Effect transition="in" filter="fade">
                                      <p:cBhvr>
                                        <p:cTn id="19"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left - Title + bullets-Dark mode">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B9190B63-43F0-F825-3D12-6941DAA1B7C3}"/>
              </a:ext>
            </a:extLst>
          </p:cNvPr>
          <p:cNvSpPr/>
          <p:nvPr userDrawn="1"/>
        </p:nvSpPr>
        <p:spPr>
          <a:xfrm rot="5400000">
            <a:off x="2723675" y="-2723676"/>
            <a:ext cx="6858000" cy="123053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pic>
        <p:nvPicPr>
          <p:cNvPr id="6" name="Grafikk 5">
            <a:extLst>
              <a:ext uri="{FF2B5EF4-FFF2-40B4-BE49-F238E27FC236}">
                <a16:creationId xmlns:a16="http://schemas.microsoft.com/office/drawing/2014/main" id="{79F21192-5A24-4610-CD76-2E379F4194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10" name="Plassholder for tekst 5">
            <a:extLst>
              <a:ext uri="{FF2B5EF4-FFF2-40B4-BE49-F238E27FC236}">
                <a16:creationId xmlns:a16="http://schemas.microsoft.com/office/drawing/2014/main" id="{68CF1AE7-40AF-57C6-6FCC-2FEB225A5B6C}"/>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53072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mage right - Title + bullets-Dark mo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2592168C-AF0F-98EC-C843-954A0F851959}"/>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latin typeface="Haffer Light" pitchFamily="2" charset="77"/>
              <a:cs typeface="Haffer Light" pitchFamily="2" charset="77"/>
            </a:endParaRPr>
          </a:p>
        </p:txBody>
      </p:sp>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4B39E79F-76D5-BCC0-8ED6-4081CC1B9413}"/>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26406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Payoff + Image 1">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D51647FE-9249-753F-47CB-1DD60FDB53A7}"/>
              </a:ext>
            </a:extLst>
          </p:cNvPr>
          <p:cNvSpPr/>
          <p:nvPr userDrawn="1"/>
        </p:nvSpPr>
        <p:spPr>
          <a:xfrm rot="5400000">
            <a:off x="2637182"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t="31869" r="12500" b="32409"/>
          <a:stretch/>
        </p:blipFill>
        <p:spPr>
          <a:xfrm>
            <a:off x="740826" y="6050436"/>
            <a:ext cx="1583603" cy="286753"/>
          </a:xfrm>
          <a:prstGeom prst="rect">
            <a:avLst/>
          </a:prstGeom>
        </p:spPr>
      </p:pic>
      <p:sp>
        <p:nvSpPr>
          <p:cNvPr id="16" name="Plassholder for bilde 15">
            <a:extLst>
              <a:ext uri="{FF2B5EF4-FFF2-40B4-BE49-F238E27FC236}">
                <a16:creationId xmlns:a16="http://schemas.microsoft.com/office/drawing/2014/main" id="{3C935765-D12A-4E84-DC8D-8A6D5D4EE1B6}"/>
              </a:ext>
            </a:extLst>
          </p:cNvPr>
          <p:cNvSpPr>
            <a:spLocks noGrp="1"/>
          </p:cNvSpPr>
          <p:nvPr userDrawn="1">
            <p:ph type="pic" sz="quarter" idx="10"/>
          </p:nvPr>
        </p:nvSpPr>
        <p:spPr>
          <a:xfrm>
            <a:off x="3997237" y="-330447"/>
            <a:ext cx="9867570" cy="8707146"/>
          </a:xfrm>
          <a:custGeom>
            <a:avLst/>
            <a:gdLst>
              <a:gd name="connsiteX0" fmla="*/ 5747807 w 9867570"/>
              <a:gd name="connsiteY0" fmla="*/ 6030950 h 8707146"/>
              <a:gd name="connsiteX1" fmla="*/ 7077012 w 9867570"/>
              <a:gd name="connsiteY1" fmla="*/ 7369048 h 8707146"/>
              <a:gd name="connsiteX2" fmla="*/ 5747807 w 9867570"/>
              <a:gd name="connsiteY2" fmla="*/ 8707146 h 8707146"/>
              <a:gd name="connsiteX3" fmla="*/ 4418602 w 9867570"/>
              <a:gd name="connsiteY3" fmla="*/ 7369048 h 8707146"/>
              <a:gd name="connsiteX4" fmla="*/ 5747807 w 9867570"/>
              <a:gd name="connsiteY4" fmla="*/ 6030950 h 8707146"/>
              <a:gd name="connsiteX5" fmla="*/ 2191999 w 9867570"/>
              <a:gd name="connsiteY5" fmla="*/ 3956659 h 8707146"/>
              <a:gd name="connsiteX6" fmla="*/ 4383998 w 9867570"/>
              <a:gd name="connsiteY6" fmla="*/ 6163324 h 8707146"/>
              <a:gd name="connsiteX7" fmla="*/ 2191999 w 9867570"/>
              <a:gd name="connsiteY7" fmla="*/ 8369989 h 8707146"/>
              <a:gd name="connsiteX8" fmla="*/ 0 w 9867570"/>
              <a:gd name="connsiteY8" fmla="*/ 6163324 h 8707146"/>
              <a:gd name="connsiteX9" fmla="*/ 2191999 w 9867570"/>
              <a:gd name="connsiteY9" fmla="*/ 3956659 h 8707146"/>
              <a:gd name="connsiteX10" fmla="*/ 3260259 w 9867570"/>
              <a:gd name="connsiteY10" fmla="*/ 2836232 h 8707146"/>
              <a:gd name="connsiteX11" fmla="*/ 3879694 w 9867570"/>
              <a:gd name="connsiteY11" fmla="*/ 3459811 h 8707146"/>
              <a:gd name="connsiteX12" fmla="*/ 3260259 w 9867570"/>
              <a:gd name="connsiteY12" fmla="*/ 4083391 h 8707146"/>
              <a:gd name="connsiteX13" fmla="*/ 2640824 w 9867570"/>
              <a:gd name="connsiteY13" fmla="*/ 3459811 h 8707146"/>
              <a:gd name="connsiteX14" fmla="*/ 3260259 w 9867570"/>
              <a:gd name="connsiteY14" fmla="*/ 2836232 h 8707146"/>
              <a:gd name="connsiteX15" fmla="*/ 6946950 w 9867570"/>
              <a:gd name="connsiteY15" fmla="*/ 0 h 8707146"/>
              <a:gd name="connsiteX16" fmla="*/ 9867570 w 9867570"/>
              <a:gd name="connsiteY16" fmla="*/ 2940160 h 8707146"/>
              <a:gd name="connsiteX17" fmla="*/ 6946950 w 9867570"/>
              <a:gd name="connsiteY17" fmla="*/ 5880320 h 8707146"/>
              <a:gd name="connsiteX18" fmla="*/ 4026330 w 9867570"/>
              <a:gd name="connsiteY18" fmla="*/ 2940160 h 8707146"/>
              <a:gd name="connsiteX19" fmla="*/ 6946950 w 9867570"/>
              <a:gd name="connsiteY19" fmla="*/ 0 h 87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7570" h="8707146">
                <a:moveTo>
                  <a:pt x="5747807" y="6030950"/>
                </a:moveTo>
                <a:cubicBezTo>
                  <a:pt x="6481907" y="6030950"/>
                  <a:pt x="7077012" y="6630037"/>
                  <a:pt x="7077012" y="7369048"/>
                </a:cubicBezTo>
                <a:cubicBezTo>
                  <a:pt x="7077012" y="8108059"/>
                  <a:pt x="6481907" y="8707146"/>
                  <a:pt x="5747807" y="8707146"/>
                </a:cubicBezTo>
                <a:cubicBezTo>
                  <a:pt x="5013707" y="8707146"/>
                  <a:pt x="4418602" y="8108059"/>
                  <a:pt x="4418602" y="7369048"/>
                </a:cubicBezTo>
                <a:cubicBezTo>
                  <a:pt x="4418602" y="6630037"/>
                  <a:pt x="5013707" y="6030950"/>
                  <a:pt x="5747807" y="6030950"/>
                </a:cubicBezTo>
                <a:close/>
                <a:moveTo>
                  <a:pt x="2191999" y="3956659"/>
                </a:moveTo>
                <a:cubicBezTo>
                  <a:pt x="3402607" y="3956659"/>
                  <a:pt x="4383998" y="4944617"/>
                  <a:pt x="4383998" y="6163324"/>
                </a:cubicBezTo>
                <a:cubicBezTo>
                  <a:pt x="4383998" y="7382031"/>
                  <a:pt x="3402607" y="8369989"/>
                  <a:pt x="2191999" y="8369989"/>
                </a:cubicBezTo>
                <a:cubicBezTo>
                  <a:pt x="981391" y="8369989"/>
                  <a:pt x="0" y="7382031"/>
                  <a:pt x="0" y="6163324"/>
                </a:cubicBezTo>
                <a:cubicBezTo>
                  <a:pt x="0" y="4944617"/>
                  <a:pt x="981391" y="3956659"/>
                  <a:pt x="2191999" y="3956659"/>
                </a:cubicBezTo>
                <a:close/>
                <a:moveTo>
                  <a:pt x="3260259" y="2836232"/>
                </a:moveTo>
                <a:cubicBezTo>
                  <a:pt x="3602364" y="2836232"/>
                  <a:pt x="3879694" y="3115417"/>
                  <a:pt x="3879694" y="3459811"/>
                </a:cubicBezTo>
                <a:cubicBezTo>
                  <a:pt x="3879694" y="3804206"/>
                  <a:pt x="3602364" y="4083391"/>
                  <a:pt x="3260259" y="4083391"/>
                </a:cubicBezTo>
                <a:cubicBezTo>
                  <a:pt x="2918154" y="4083391"/>
                  <a:pt x="2640824" y="3804206"/>
                  <a:pt x="2640824" y="3459811"/>
                </a:cubicBezTo>
                <a:cubicBezTo>
                  <a:pt x="2640824" y="3115417"/>
                  <a:pt x="2918154" y="2836232"/>
                  <a:pt x="3260259" y="2836232"/>
                </a:cubicBezTo>
                <a:close/>
                <a:moveTo>
                  <a:pt x="6946950" y="0"/>
                </a:moveTo>
                <a:cubicBezTo>
                  <a:pt x="8559964" y="0"/>
                  <a:pt x="9867570" y="1316354"/>
                  <a:pt x="9867570" y="2940160"/>
                </a:cubicBezTo>
                <a:cubicBezTo>
                  <a:pt x="9867570" y="4563966"/>
                  <a:pt x="8559964" y="5880320"/>
                  <a:pt x="6946950" y="5880320"/>
                </a:cubicBezTo>
                <a:cubicBezTo>
                  <a:pt x="5333936" y="5880320"/>
                  <a:pt x="4026330" y="4563966"/>
                  <a:pt x="4026330" y="2940160"/>
                </a:cubicBezTo>
                <a:cubicBezTo>
                  <a:pt x="4026330" y="1316354"/>
                  <a:pt x="5333936" y="0"/>
                  <a:pt x="6946950" y="0"/>
                </a:cubicBezTo>
                <a:close/>
              </a:path>
            </a:pathLst>
          </a:custGeom>
        </p:spPr>
        <p:txBody>
          <a:bodyPr wrap="square">
            <a:noAutofit/>
          </a:bodyPr>
          <a:lstStyle/>
          <a:p>
            <a:r>
              <a:rPr lang="de-DE"/>
              <a:t>Bild durch Klicken auf Symbol hinzufügen</a:t>
            </a:r>
            <a:endParaRPr lang="nb-NO"/>
          </a:p>
        </p:txBody>
      </p:sp>
      <p:sp>
        <p:nvSpPr>
          <p:cNvPr id="20" name="Plassholder for tekst 19">
            <a:extLst>
              <a:ext uri="{FF2B5EF4-FFF2-40B4-BE49-F238E27FC236}">
                <a16:creationId xmlns:a16="http://schemas.microsoft.com/office/drawing/2014/main" id="{F1F37A79-4AB3-EDFB-D51F-0E8A0EE8A6D0}"/>
              </a:ext>
            </a:extLst>
          </p:cNvPr>
          <p:cNvSpPr>
            <a:spLocks noGrp="1"/>
          </p:cNvSpPr>
          <p:nvPr>
            <p:ph type="body" sz="quarter" idx="11" hasCustomPrompt="1"/>
          </p:nvPr>
        </p:nvSpPr>
        <p:spPr>
          <a:xfrm>
            <a:off x="740826" y="713655"/>
            <a:ext cx="4595945" cy="1700081"/>
          </a:xfrm>
          <a:prstGeom prst="rect">
            <a:avLst/>
          </a:prstGeom>
        </p:spPr>
        <p:txBody>
          <a:bodyPr anchor="t"/>
          <a:lstStyle>
            <a:lvl1pPr marL="0" indent="0">
              <a:buNone/>
              <a:defRPr sz="4000">
                <a:solidFill>
                  <a:schemeClr val="bg1"/>
                </a:solidFill>
                <a:latin typeface="Haffer" pitchFamily="2" charset="77"/>
                <a:cs typeface="Haffer" pitchFamily="2" charset="77"/>
              </a:defRPr>
            </a:lvl1pPr>
          </a:lstStyle>
          <a:p>
            <a:pPr lvl="0"/>
            <a:r>
              <a:rPr lang="nb-NO"/>
              <a:t>Presentation </a:t>
            </a:r>
          </a:p>
          <a:p>
            <a:pPr lvl="0"/>
            <a:r>
              <a:rPr lang="nb-NO" err="1"/>
              <a:t>title</a:t>
            </a:r>
            <a:endParaRPr lang="nb-NO"/>
          </a:p>
        </p:txBody>
      </p:sp>
    </p:spTree>
    <p:extLst>
      <p:ext uri="{BB962C8B-B14F-4D97-AF65-F5344CB8AC3E}">
        <p14:creationId xmlns:p14="http://schemas.microsoft.com/office/powerpoint/2010/main" val="32706508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 bullets + 3 bubble images-Dark mode">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ECBC1048-E14B-ED1F-4443-F917DE7CDAA2}"/>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3" name="Grafikk 2">
            <a:extLst>
              <a:ext uri="{FF2B5EF4-FFF2-40B4-BE49-F238E27FC236}">
                <a16:creationId xmlns:a16="http://schemas.microsoft.com/office/drawing/2014/main" id="{3F5BF64D-832E-3A7F-B479-1CF0AE30E5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8" name="Plassholder for tekst 5">
            <a:extLst>
              <a:ext uri="{FF2B5EF4-FFF2-40B4-BE49-F238E27FC236}">
                <a16:creationId xmlns:a16="http://schemas.microsoft.com/office/drawing/2014/main" id="{41C426D6-A6F7-D098-F1BB-2269FE2607C3}"/>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605737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Effect transition="in" filter="fade">
                                      <p:cBhvr>
                                        <p:cTn id="19"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bullets + bubble images/green-Dark mode">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ECBC1048-E14B-ED1F-4443-F917DE7CDAA2}"/>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31" name="Grafikk 30">
            <a:extLst>
              <a:ext uri="{FF2B5EF4-FFF2-40B4-BE49-F238E27FC236}">
                <a16:creationId xmlns:a16="http://schemas.microsoft.com/office/drawing/2014/main" id="{1170CEEC-126B-6FAD-E020-6C9F17252E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32" name="Plassholder for tekst 5">
            <a:extLst>
              <a:ext uri="{FF2B5EF4-FFF2-40B4-BE49-F238E27FC236}">
                <a16:creationId xmlns:a16="http://schemas.microsoft.com/office/drawing/2014/main" id="{AC7B74B5-A938-0EC3-CC96-291665FF1D61}"/>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3492553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2">
                                            <p:txEl>
                                              <p:pRg st="0" end="0"/>
                                            </p:txEl>
                                          </p:spTgt>
                                        </p:tgtEl>
                                        <p:attrNameLst>
                                          <p:attrName>style.visibility</p:attrName>
                                        </p:attrNameLst>
                                      </p:cBhvr>
                                      <p:to>
                                        <p:strVal val="visible"/>
                                      </p:to>
                                    </p:set>
                                    <p:animEffect transition="in" filter="fade">
                                      <p:cBhvr>
                                        <p:cTn id="11" dur="500"/>
                                        <p:tgtEl>
                                          <p:spTgt spid="3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2">
                                            <p:txEl>
                                              <p:pRg st="1" end="1"/>
                                            </p:txEl>
                                          </p:spTgt>
                                        </p:tgtEl>
                                        <p:attrNameLst>
                                          <p:attrName>style.visibility</p:attrName>
                                        </p:attrNameLst>
                                      </p:cBhvr>
                                      <p:to>
                                        <p:strVal val="visible"/>
                                      </p:to>
                                    </p:set>
                                    <p:animEffect transition="in" filter="fade">
                                      <p:cBhvr>
                                        <p:cTn id="15" dur="500"/>
                                        <p:tgtEl>
                                          <p:spTgt spid="3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2">
                                            <p:txEl>
                                              <p:pRg st="2" end="2"/>
                                            </p:txEl>
                                          </p:spTgt>
                                        </p:tgtEl>
                                        <p:attrNameLst>
                                          <p:attrName>style.visibility</p:attrName>
                                        </p:attrNameLst>
                                      </p:cBhvr>
                                      <p:to>
                                        <p:strVal val="visible"/>
                                      </p:to>
                                    </p:set>
                                    <p:animEffect transition="in" filter="fade">
                                      <p:cBhvr>
                                        <p:cTn id="19" dur="500"/>
                                        <p:tgtEl>
                                          <p:spTgt spid="3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32" grpId="0" build="p">
        <p:tmplLst>
          <p:tmpl lvl="1">
            <p:tnLst>
              <p:par>
                <p:cTn presetID="10" presetClass="entr" presetSubtype="0" fill="hold" nodeType="after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ontel News">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2">
            <a:extLst>
              <a:ext uri="{FF2B5EF4-FFF2-40B4-BE49-F238E27FC236}">
                <a16:creationId xmlns:a16="http://schemas.microsoft.com/office/drawing/2014/main" id="{CD592C1A-C33E-D0FD-C9C3-AABFA0FA56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1988838"/>
            <a:ext cx="4779864" cy="1725612"/>
          </a:xfrm>
          <a:prstGeom prst="rect">
            <a:avLst/>
          </a:prstGeom>
        </p:spPr>
      </p:pic>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683833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5FED5E2E-4C7D-EE8C-FFE4-86A1C09FA19F}"/>
              </a:ext>
            </a:extLst>
          </p:cNvPr>
          <p:cNvPicPr>
            <a:picLocks noChangeAspect="1"/>
          </p:cNvPicPr>
          <p:nvPr userDrawn="1"/>
        </p:nvPicPr>
        <p:blipFill>
          <a:blip r:embed="rId4"/>
          <a:stretch>
            <a:fillRect/>
          </a:stretch>
        </p:blipFill>
        <p:spPr>
          <a:xfrm>
            <a:off x="11546205" y="234873"/>
            <a:ext cx="399735" cy="399735"/>
          </a:xfrm>
          <a:prstGeom prst="rect">
            <a:avLst/>
          </a:prstGeom>
        </p:spPr>
      </p:pic>
      <p:sp>
        <p:nvSpPr>
          <p:cNvPr id="13" name="Plassholder for tekst 5">
            <a:extLst>
              <a:ext uri="{FF2B5EF4-FFF2-40B4-BE49-F238E27FC236}">
                <a16:creationId xmlns:a16="http://schemas.microsoft.com/office/drawing/2014/main" id="{A425FB59-1D33-E330-67BA-3B6A6EFF9F5C}"/>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C9C62769-4B60-4F7F-57B6-E3105E344C47}"/>
              </a:ext>
            </a:extLst>
          </p:cNvPr>
          <p:cNvPicPr>
            <a:picLocks noChangeAspect="1"/>
          </p:cNvPicPr>
          <p:nvPr userDrawn="1"/>
        </p:nvPicPr>
        <p:blipFill>
          <a:blip r:embed="rId5">
            <a:alphaModFix amt="30000"/>
          </a:blip>
          <a:stretch>
            <a:fillRect/>
          </a:stretch>
        </p:blipFill>
        <p:spPr>
          <a:xfrm>
            <a:off x="10078529" y="4946792"/>
            <a:ext cx="2732931" cy="2275220"/>
          </a:xfrm>
          <a:prstGeom prst="rect">
            <a:avLst/>
          </a:prstGeom>
        </p:spPr>
      </p:pic>
      <p:sp>
        <p:nvSpPr>
          <p:cNvPr id="17" name="TekstSylinder 16">
            <a:extLst>
              <a:ext uri="{FF2B5EF4-FFF2-40B4-BE49-F238E27FC236}">
                <a16:creationId xmlns:a16="http://schemas.microsoft.com/office/drawing/2014/main" id="{0DA2A8D4-5A65-B72A-6B30-EB7266A7A598}"/>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351921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3EDEA894-2ADD-0F84-E844-8193DECD365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22552077-D8F7-E79F-254F-81089E37E4C0}"/>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594139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C356EDD0-52F5-165D-F6DA-8F7CD3EDC0D2}"/>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6627EAFF-585A-5B2F-DD1E-60C16A19A619}"/>
              </a:ext>
            </a:extLst>
          </p:cNvPr>
          <p:cNvPicPr>
            <a:picLocks noChangeAspect="1"/>
          </p:cNvPicPr>
          <p:nvPr userDrawn="1"/>
        </p:nvPicPr>
        <p:blipFill>
          <a:blip r:embed="rId2">
            <a:alphaModFix amt="30000"/>
          </a:blip>
          <a:stretch>
            <a:fillRect/>
          </a:stretch>
        </p:blipFill>
        <p:spPr>
          <a:xfrm>
            <a:off x="10078529" y="4946792"/>
            <a:ext cx="2732931" cy="2275220"/>
          </a:xfrm>
          <a:prstGeom prst="rect">
            <a:avLst/>
          </a:prstGeom>
        </p:spPr>
      </p:pic>
      <p:pic>
        <p:nvPicPr>
          <p:cNvPr id="10" name="Bilde 9">
            <a:extLst>
              <a:ext uri="{FF2B5EF4-FFF2-40B4-BE49-F238E27FC236}">
                <a16:creationId xmlns:a16="http://schemas.microsoft.com/office/drawing/2014/main" id="{75ABAA63-61A1-2A77-ECC1-79F1F13227F7}"/>
              </a:ext>
            </a:extLst>
          </p:cNvPr>
          <p:cNvPicPr>
            <a:picLocks noChangeAspect="1"/>
          </p:cNvPicPr>
          <p:nvPr userDrawn="1"/>
        </p:nvPicPr>
        <p:blipFill>
          <a:blip r:embed="rId3"/>
          <a:stretch>
            <a:fillRect/>
          </a:stretch>
        </p:blipFill>
        <p:spPr>
          <a:xfrm>
            <a:off x="11546205" y="234873"/>
            <a:ext cx="399735" cy="399735"/>
          </a:xfrm>
          <a:prstGeom prst="rect">
            <a:avLst/>
          </a:prstGeom>
        </p:spPr>
      </p:pic>
      <p:sp>
        <p:nvSpPr>
          <p:cNvPr id="12" name="TekstSylinder 11">
            <a:extLst>
              <a:ext uri="{FF2B5EF4-FFF2-40B4-BE49-F238E27FC236}">
                <a16:creationId xmlns:a16="http://schemas.microsoft.com/office/drawing/2014/main" id="{2CF49E1F-7CBC-76F6-80FD-6E16836F309C}"/>
              </a:ext>
            </a:extLst>
          </p:cNvPr>
          <p:cNvSpPr txBox="1"/>
          <p:nvPr userDrawn="1"/>
        </p:nvSpPr>
        <p:spPr>
          <a:xfrm>
            <a:off x="56335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2820953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B44CCB6C-A52E-D79D-808C-49F576C0CF7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175F0EF6-3650-2B55-2E0B-BB2A13A8BC8C}"/>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743659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ontel advisory">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7" name="Grafikk 6">
            <a:extLst>
              <a:ext uri="{FF2B5EF4-FFF2-40B4-BE49-F238E27FC236}">
                <a16:creationId xmlns:a16="http://schemas.microsoft.com/office/drawing/2014/main" id="{1041DDD1-C153-5D4E-55C8-019762E771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30889" y="1752019"/>
            <a:ext cx="6625808" cy="2247246"/>
          </a:xfrm>
          <a:prstGeom prst="rect">
            <a:avLst/>
          </a:prstGeom>
        </p:spPr>
      </p:pic>
    </p:spTree>
    <p:extLst>
      <p:ext uri="{BB962C8B-B14F-4D97-AF65-F5344CB8AC3E}">
        <p14:creationId xmlns:p14="http://schemas.microsoft.com/office/powerpoint/2010/main" val="34497684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18" name="Bilde 17">
            <a:extLst>
              <a:ext uri="{FF2B5EF4-FFF2-40B4-BE49-F238E27FC236}">
                <a16:creationId xmlns:a16="http://schemas.microsoft.com/office/drawing/2014/main" id="{BCEC2D05-AAEE-5462-0C9E-CAE39FB9F845}"/>
              </a:ext>
            </a:extLst>
          </p:cNvPr>
          <p:cNvPicPr>
            <a:picLocks noChangeAspect="1"/>
          </p:cNvPicPr>
          <p:nvPr userDrawn="1"/>
        </p:nvPicPr>
        <p:blipFill>
          <a:blip r:embed="rId2"/>
          <a:stretch>
            <a:fillRect/>
          </a:stretch>
        </p:blipFill>
        <p:spPr>
          <a:xfrm>
            <a:off x="11538083" y="224363"/>
            <a:ext cx="412365" cy="412365"/>
          </a:xfrm>
          <a:prstGeom prst="rect">
            <a:avLst/>
          </a:prstGeom>
        </p:spPr>
      </p:pic>
      <p:pic>
        <p:nvPicPr>
          <p:cNvPr id="20" name="Bilde 19">
            <a:extLst>
              <a:ext uri="{FF2B5EF4-FFF2-40B4-BE49-F238E27FC236}">
                <a16:creationId xmlns:a16="http://schemas.microsoft.com/office/drawing/2014/main" id="{8E02C599-1505-07FE-7946-0DAC86FBBB56}"/>
              </a:ext>
            </a:extLst>
          </p:cNvPr>
          <p:cNvPicPr>
            <a:picLocks noChangeAspect="1"/>
          </p:cNvPicPr>
          <p:nvPr userDrawn="1"/>
        </p:nvPicPr>
        <p:blipFill>
          <a:blip r:embed="rId3">
            <a:alphaModFix amt="30000"/>
          </a:blip>
          <a:stretch>
            <a:fillRect/>
          </a:stretch>
        </p:blipFill>
        <p:spPr>
          <a:xfrm>
            <a:off x="10747210" y="4311903"/>
            <a:ext cx="2191324" cy="2632157"/>
          </a:xfrm>
          <a:prstGeom prst="rect">
            <a:avLst/>
          </a:prstGeom>
        </p:spPr>
      </p:pic>
      <p:sp>
        <p:nvSpPr>
          <p:cNvPr id="21" name="Plassholder for tekst 5">
            <a:extLst>
              <a:ext uri="{FF2B5EF4-FFF2-40B4-BE49-F238E27FC236}">
                <a16:creationId xmlns:a16="http://schemas.microsoft.com/office/drawing/2014/main" id="{41DB37A2-5EC0-9B30-9361-F79FF6B09019}"/>
              </a:ext>
            </a:extLst>
          </p:cNvPr>
          <p:cNvSpPr>
            <a:spLocks noGrp="1"/>
          </p:cNvSpPr>
          <p:nvPr>
            <p:ph type="body" sz="quarter" idx="12" hasCustomPrompt="1"/>
          </p:nvPr>
        </p:nvSpPr>
        <p:spPr>
          <a:xfrm>
            <a:off x="959978" y="2072789"/>
            <a:ext cx="9905246"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2" name="TekstSylinder 21">
            <a:extLst>
              <a:ext uri="{FF2B5EF4-FFF2-40B4-BE49-F238E27FC236}">
                <a16:creationId xmlns:a16="http://schemas.microsoft.com/office/drawing/2014/main" id="{21A404DB-FAF3-EB3E-46A7-967B3206B56A}"/>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3699094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xEl>
                                              <p:pRg st="0" end="0"/>
                                            </p:txEl>
                                          </p:spTgt>
                                        </p:tgtEl>
                                        <p:attrNameLst>
                                          <p:attrName>style.visibility</p:attrName>
                                        </p:attrNameLst>
                                      </p:cBhvr>
                                      <p:to>
                                        <p:strVal val="visible"/>
                                      </p:to>
                                    </p:set>
                                    <p:animEffect transition="in" filter="fade">
                                      <p:cBhvr>
                                        <p:cTn id="11" dur="500"/>
                                        <p:tgtEl>
                                          <p:spTgt spid="21">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1">
                                            <p:txEl>
                                              <p:pRg st="1" end="1"/>
                                            </p:txEl>
                                          </p:spTgt>
                                        </p:tgtEl>
                                        <p:attrNameLst>
                                          <p:attrName>style.visibility</p:attrName>
                                        </p:attrNameLst>
                                      </p:cBhvr>
                                      <p:to>
                                        <p:strVal val="visible"/>
                                      </p:to>
                                    </p:set>
                                    <p:animEffect transition="in" filter="fade">
                                      <p:cBhvr>
                                        <p:cTn id="15" dur="500"/>
                                        <p:tgtEl>
                                          <p:spTgt spid="21">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1">
                                            <p:txEl>
                                              <p:pRg st="2" end="2"/>
                                            </p:txEl>
                                          </p:spTgt>
                                        </p:tgtEl>
                                        <p:attrNameLst>
                                          <p:attrName>style.visibility</p:attrName>
                                        </p:attrNameLst>
                                      </p:cBhvr>
                                      <p:to>
                                        <p:strVal val="visible"/>
                                      </p:to>
                                    </p:set>
                                    <p:animEffect transition="in" filter="fade">
                                      <p:cBhvr>
                                        <p:cTn id="19" dur="500"/>
                                        <p:tgtEl>
                                          <p:spTgt spid="2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21" grpId="0" build="p">
        <p:tmplLst>
          <p:tmpl lvl="1">
            <p:tnLst>
              <p:par>
                <p:cTn presetID="10"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4" name="Plassholder for tekst 5">
            <a:extLst>
              <a:ext uri="{FF2B5EF4-FFF2-40B4-BE49-F238E27FC236}">
                <a16:creationId xmlns:a16="http://schemas.microsoft.com/office/drawing/2014/main" id="{48F06024-47B2-00DD-BC6B-70052549105D}"/>
              </a:ext>
            </a:extLst>
          </p:cNvPr>
          <p:cNvSpPr>
            <a:spLocks noGrp="1"/>
          </p:cNvSpPr>
          <p:nvPr>
            <p:ph type="body" sz="quarter" idx="14" hasCustomPrompt="1"/>
          </p:nvPr>
        </p:nvSpPr>
        <p:spPr>
          <a:xfrm>
            <a:off x="959978" y="2072789"/>
            <a:ext cx="63801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E25EEA7D-F755-0E2F-86BB-903EBBDFA51A}"/>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229244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go+Payoff + Image 2">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67BC1783-48CA-E7AC-6E4F-AA5F59FB47BD}"/>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t="31869" r="12500" b="32409"/>
          <a:stretch/>
        </p:blipFill>
        <p:spPr>
          <a:xfrm>
            <a:off x="616136" y="6154778"/>
            <a:ext cx="1771858" cy="320841"/>
          </a:xfrm>
          <a:prstGeom prst="rect">
            <a:avLst/>
          </a:prstGeom>
        </p:spPr>
      </p:pic>
      <p:sp>
        <p:nvSpPr>
          <p:cNvPr id="36" name="Plassholder for bilde 35">
            <a:extLst>
              <a:ext uri="{FF2B5EF4-FFF2-40B4-BE49-F238E27FC236}">
                <a16:creationId xmlns:a16="http://schemas.microsoft.com/office/drawing/2014/main" id="{FCD34059-1E74-01C7-5238-8E73F252D73E}"/>
              </a:ext>
            </a:extLst>
          </p:cNvPr>
          <p:cNvSpPr>
            <a:spLocks noGrp="1"/>
          </p:cNvSpPr>
          <p:nvPr>
            <p:ph type="pic" sz="quarter" idx="10"/>
          </p:nvPr>
        </p:nvSpPr>
        <p:spPr>
          <a:xfrm>
            <a:off x="5664590" y="498767"/>
            <a:ext cx="10345430" cy="5976852"/>
          </a:xfrm>
          <a:custGeom>
            <a:avLst/>
            <a:gdLst>
              <a:gd name="connsiteX0" fmla="*/ 409306 w 10345430"/>
              <a:gd name="connsiteY0" fmla="*/ 0 h 6381972"/>
              <a:gd name="connsiteX1" fmla="*/ 9936124 w 10345430"/>
              <a:gd name="connsiteY1" fmla="*/ 0 h 6381972"/>
              <a:gd name="connsiteX2" fmla="*/ 10345430 w 10345430"/>
              <a:gd name="connsiteY2" fmla="*/ 408986 h 6381972"/>
              <a:gd name="connsiteX3" fmla="*/ 10345430 w 10345430"/>
              <a:gd name="connsiteY3" fmla="*/ 5972986 h 6381972"/>
              <a:gd name="connsiteX4" fmla="*/ 9936124 w 10345430"/>
              <a:gd name="connsiteY4" fmla="*/ 6381972 h 6381972"/>
              <a:gd name="connsiteX5" fmla="*/ 409306 w 10345430"/>
              <a:gd name="connsiteY5" fmla="*/ 6381972 h 6381972"/>
              <a:gd name="connsiteX6" fmla="*/ 0 w 10345430"/>
              <a:gd name="connsiteY6" fmla="*/ 5972986 h 6381972"/>
              <a:gd name="connsiteX7" fmla="*/ 0 w 10345430"/>
              <a:gd name="connsiteY7" fmla="*/ 408986 h 6381972"/>
              <a:gd name="connsiteX8" fmla="*/ 409306 w 10345430"/>
              <a:gd name="connsiteY8" fmla="*/ 0 h 638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45430" h="6381972">
                <a:moveTo>
                  <a:pt x="409306" y="0"/>
                </a:moveTo>
                <a:lnTo>
                  <a:pt x="9936124" y="0"/>
                </a:lnTo>
                <a:cubicBezTo>
                  <a:pt x="10162178" y="0"/>
                  <a:pt x="10345430" y="183109"/>
                  <a:pt x="10345430" y="408986"/>
                </a:cubicBezTo>
                <a:lnTo>
                  <a:pt x="10345430" y="5972986"/>
                </a:lnTo>
                <a:cubicBezTo>
                  <a:pt x="10345430" y="6198863"/>
                  <a:pt x="10162178" y="6381972"/>
                  <a:pt x="9936124" y="6381972"/>
                </a:cubicBezTo>
                <a:lnTo>
                  <a:pt x="409306" y="6381972"/>
                </a:lnTo>
                <a:cubicBezTo>
                  <a:pt x="183253" y="6381972"/>
                  <a:pt x="0" y="6198863"/>
                  <a:pt x="0" y="5972986"/>
                </a:cubicBezTo>
                <a:lnTo>
                  <a:pt x="0" y="408986"/>
                </a:lnTo>
                <a:cubicBezTo>
                  <a:pt x="0" y="183109"/>
                  <a:pt x="183253" y="0"/>
                  <a:pt x="409306" y="0"/>
                </a:cubicBezTo>
                <a:close/>
              </a:path>
            </a:pathLst>
          </a:custGeom>
        </p:spPr>
        <p:txBody>
          <a:bodyPr wrap="square">
            <a:noAutofit/>
          </a:bodyPr>
          <a:lstStyle/>
          <a:p>
            <a:r>
              <a:rPr lang="de-DE"/>
              <a:t>Bild durch Klicken auf Symbol hinzufügen</a:t>
            </a:r>
            <a:endParaRPr lang="nb-NO"/>
          </a:p>
        </p:txBody>
      </p:sp>
      <p:sp>
        <p:nvSpPr>
          <p:cNvPr id="39" name="Plassholder for tekst 19">
            <a:extLst>
              <a:ext uri="{FF2B5EF4-FFF2-40B4-BE49-F238E27FC236}">
                <a16:creationId xmlns:a16="http://schemas.microsoft.com/office/drawing/2014/main" id="{6C737439-2242-7421-E550-920B94BAD3DC}"/>
              </a:ext>
            </a:extLst>
          </p:cNvPr>
          <p:cNvSpPr>
            <a:spLocks noGrp="1"/>
          </p:cNvSpPr>
          <p:nvPr>
            <p:ph type="body" sz="quarter" idx="11" hasCustomPrompt="1"/>
          </p:nvPr>
        </p:nvSpPr>
        <p:spPr>
          <a:xfrm>
            <a:off x="616136" y="533171"/>
            <a:ext cx="4595945" cy="1700081"/>
          </a:xfrm>
          <a:prstGeom prst="rect">
            <a:avLst/>
          </a:prstGeom>
        </p:spPr>
        <p:txBody>
          <a:bodyPr anchor="t"/>
          <a:lstStyle>
            <a:lvl1pPr marL="0" indent="0">
              <a:buNone/>
              <a:defRPr sz="4000">
                <a:solidFill>
                  <a:schemeClr val="bg1"/>
                </a:solidFill>
                <a:latin typeface="Haffer" pitchFamily="2" charset="77"/>
                <a:cs typeface="Haffer" pitchFamily="2" charset="77"/>
              </a:defRPr>
            </a:lvl1pPr>
          </a:lstStyle>
          <a:p>
            <a:pPr lvl="0"/>
            <a:r>
              <a:rPr lang="nb-NO"/>
              <a:t>Presentation </a:t>
            </a:r>
          </a:p>
          <a:p>
            <a:pPr lvl="0"/>
            <a:r>
              <a:rPr lang="nb-NO" err="1"/>
              <a:t>title</a:t>
            </a:r>
            <a:endParaRPr lang="nb-NO"/>
          </a:p>
        </p:txBody>
      </p:sp>
    </p:spTree>
    <p:extLst>
      <p:ext uri="{BB962C8B-B14F-4D97-AF65-F5344CB8AC3E}">
        <p14:creationId xmlns:p14="http://schemas.microsoft.com/office/powerpoint/2010/main" val="7866378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6" name="Bilde 5">
            <a:extLst>
              <a:ext uri="{FF2B5EF4-FFF2-40B4-BE49-F238E27FC236}">
                <a16:creationId xmlns:a16="http://schemas.microsoft.com/office/drawing/2014/main" id="{49AC0B22-2540-BCDB-3FFE-F525639FC5E9}"/>
              </a:ext>
            </a:extLst>
          </p:cNvPr>
          <p:cNvPicPr>
            <a:picLocks noChangeAspect="1"/>
          </p:cNvPicPr>
          <p:nvPr userDrawn="1"/>
        </p:nvPicPr>
        <p:blipFill>
          <a:blip r:embed="rId2"/>
          <a:stretch>
            <a:fillRect/>
          </a:stretch>
        </p:blipFill>
        <p:spPr>
          <a:xfrm>
            <a:off x="11538083" y="224363"/>
            <a:ext cx="412365" cy="412365"/>
          </a:xfrm>
          <a:prstGeom prst="rect">
            <a:avLst/>
          </a:prstGeom>
        </p:spPr>
      </p:pic>
      <p:pic>
        <p:nvPicPr>
          <p:cNvPr id="7" name="Bilde 6">
            <a:extLst>
              <a:ext uri="{FF2B5EF4-FFF2-40B4-BE49-F238E27FC236}">
                <a16:creationId xmlns:a16="http://schemas.microsoft.com/office/drawing/2014/main" id="{0B21BD34-F90B-A525-2E02-6765BEFA9739}"/>
              </a:ext>
            </a:extLst>
          </p:cNvPr>
          <p:cNvPicPr>
            <a:picLocks noChangeAspect="1"/>
          </p:cNvPicPr>
          <p:nvPr userDrawn="1"/>
        </p:nvPicPr>
        <p:blipFill>
          <a:blip r:embed="rId3">
            <a:alphaModFix amt="30000"/>
          </a:blip>
          <a:stretch>
            <a:fillRect/>
          </a:stretch>
        </p:blipFill>
        <p:spPr>
          <a:xfrm>
            <a:off x="10747210" y="4311903"/>
            <a:ext cx="2191324" cy="2632157"/>
          </a:xfrm>
          <a:prstGeom prst="rect">
            <a:avLst/>
          </a:prstGeom>
        </p:spPr>
      </p:pic>
      <p:sp>
        <p:nvSpPr>
          <p:cNvPr id="12" name="Plassholder for tekst 5">
            <a:extLst>
              <a:ext uri="{FF2B5EF4-FFF2-40B4-BE49-F238E27FC236}">
                <a16:creationId xmlns:a16="http://schemas.microsoft.com/office/drawing/2014/main" id="{F79E92D7-0D46-6F59-6023-44ECFEC282B9}"/>
              </a:ext>
            </a:extLst>
          </p:cNvPr>
          <p:cNvSpPr>
            <a:spLocks noGrp="1"/>
          </p:cNvSpPr>
          <p:nvPr>
            <p:ph type="body" sz="quarter" idx="15"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sp>
        <p:nvSpPr>
          <p:cNvPr id="13" name="TekstSylinder 12">
            <a:extLst>
              <a:ext uri="{FF2B5EF4-FFF2-40B4-BE49-F238E27FC236}">
                <a16:creationId xmlns:a16="http://schemas.microsoft.com/office/drawing/2014/main" id="{5E27AD9E-F178-0AAD-27F9-514AFE9D995F}"/>
              </a:ext>
            </a:extLst>
          </p:cNvPr>
          <p:cNvSpPr txBox="1"/>
          <p:nvPr userDrawn="1"/>
        </p:nvSpPr>
        <p:spPr>
          <a:xfrm>
            <a:off x="56335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2768892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fade">
                                      <p:cBhvr>
                                        <p:cTn id="11" dur="500"/>
                                        <p:tgtEl>
                                          <p:spTgt spid="1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fade">
                                      <p:cBhvr>
                                        <p:cTn id="15" dur="500"/>
                                        <p:tgtEl>
                                          <p:spTgt spid="1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1"/>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78B0E417-D9F4-7661-3F80-7AB11317B6A7}"/>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0" name="TekstSylinder 9">
            <a:extLst>
              <a:ext uri="{FF2B5EF4-FFF2-40B4-BE49-F238E27FC236}">
                <a16:creationId xmlns:a16="http://schemas.microsoft.com/office/drawing/2014/main" id="{AC4D98AA-0BB8-57BF-21D6-F9EB2A460E9B}"/>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1864051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ontel marketing service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2" name="Graphic 2">
            <a:extLst>
              <a:ext uri="{FF2B5EF4-FFF2-40B4-BE49-F238E27FC236}">
                <a16:creationId xmlns:a16="http://schemas.microsoft.com/office/drawing/2014/main" id="{00D1DA68-C4CD-C9AD-6A1E-AFEE152C83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55736" y="2241149"/>
            <a:ext cx="7822079" cy="1228689"/>
          </a:xfrm>
          <a:prstGeom prst="rect">
            <a:avLst/>
          </a:prstGeom>
        </p:spPr>
      </p:pic>
    </p:spTree>
    <p:extLst>
      <p:ext uri="{BB962C8B-B14F-4D97-AF65-F5344CB8AC3E}">
        <p14:creationId xmlns:p14="http://schemas.microsoft.com/office/powerpoint/2010/main" val="22607815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4"/>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6" name="Bilde 15">
            <a:extLst>
              <a:ext uri="{FF2B5EF4-FFF2-40B4-BE49-F238E27FC236}">
                <a16:creationId xmlns:a16="http://schemas.microsoft.com/office/drawing/2014/main" id="{9753D280-87B9-6A63-AA05-1734BEB5D767}"/>
              </a:ext>
            </a:extLst>
          </p:cNvPr>
          <p:cNvPicPr>
            <a:picLocks noChangeAspect="1"/>
          </p:cNvPicPr>
          <p:nvPr userDrawn="1"/>
        </p:nvPicPr>
        <p:blipFill>
          <a:blip r:embed="rId4"/>
          <a:stretch>
            <a:fillRect/>
          </a:stretch>
        </p:blipFill>
        <p:spPr>
          <a:xfrm>
            <a:off x="11538368" y="226074"/>
            <a:ext cx="412365" cy="412365"/>
          </a:xfrm>
          <a:prstGeom prst="rect">
            <a:avLst/>
          </a:prstGeom>
        </p:spPr>
      </p:pic>
      <p:sp>
        <p:nvSpPr>
          <p:cNvPr id="19" name="Plassholder for tekst 5">
            <a:extLst>
              <a:ext uri="{FF2B5EF4-FFF2-40B4-BE49-F238E27FC236}">
                <a16:creationId xmlns:a16="http://schemas.microsoft.com/office/drawing/2014/main" id="{3C06FB5F-E4FE-5E5D-B392-09A3D94DBC17}"/>
              </a:ext>
            </a:extLst>
          </p:cNvPr>
          <p:cNvSpPr>
            <a:spLocks noGrp="1"/>
          </p:cNvSpPr>
          <p:nvPr>
            <p:ph type="body" sz="quarter" idx="12" hasCustomPrompt="1"/>
          </p:nvPr>
        </p:nvSpPr>
        <p:spPr>
          <a:xfrm>
            <a:off x="960438" y="2063750"/>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20" name="Bilde 19">
            <a:extLst>
              <a:ext uri="{FF2B5EF4-FFF2-40B4-BE49-F238E27FC236}">
                <a16:creationId xmlns:a16="http://schemas.microsoft.com/office/drawing/2014/main" id="{888ECCA7-1733-A11C-808B-D86014E29B6C}"/>
              </a:ext>
            </a:extLst>
          </p:cNvPr>
          <p:cNvPicPr>
            <a:picLocks noChangeAspect="1"/>
          </p:cNvPicPr>
          <p:nvPr userDrawn="1"/>
        </p:nvPicPr>
        <p:blipFill>
          <a:blip r:embed="rId5">
            <a:alphaModFix amt="25000"/>
          </a:blip>
          <a:stretch>
            <a:fillRect/>
          </a:stretch>
        </p:blipFill>
        <p:spPr>
          <a:xfrm>
            <a:off x="10471506" y="4152452"/>
            <a:ext cx="2866913" cy="2866913"/>
          </a:xfrm>
          <a:prstGeom prst="rect">
            <a:avLst/>
          </a:prstGeom>
        </p:spPr>
      </p:pic>
      <p:sp>
        <p:nvSpPr>
          <p:cNvPr id="21" name="TekstSylinder 20">
            <a:extLst>
              <a:ext uri="{FF2B5EF4-FFF2-40B4-BE49-F238E27FC236}">
                <a16:creationId xmlns:a16="http://schemas.microsoft.com/office/drawing/2014/main" id="{974579F4-F0F1-DBB3-261C-985D8E373EB1}"/>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806108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9">
                                            <p:txEl>
                                              <p:pRg st="1" end="1"/>
                                            </p:txEl>
                                          </p:spTgt>
                                        </p:tgtEl>
                                        <p:attrNameLst>
                                          <p:attrName>style.visibility</p:attrName>
                                        </p:attrNameLst>
                                      </p:cBhvr>
                                      <p:to>
                                        <p:strVal val="visible"/>
                                      </p:to>
                                    </p:set>
                                    <p:animEffect transition="in" filter="fade">
                                      <p:cBhvr>
                                        <p:cTn id="15" dur="500"/>
                                        <p:tgtEl>
                                          <p:spTgt spid="1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9">
                                            <p:txEl>
                                              <p:pRg st="2" end="2"/>
                                            </p:txEl>
                                          </p:spTgt>
                                        </p:tgtEl>
                                        <p:attrNameLst>
                                          <p:attrName>style.visibility</p:attrName>
                                        </p:attrNameLst>
                                      </p:cBhvr>
                                      <p:to>
                                        <p:strVal val="visible"/>
                                      </p:to>
                                    </p:set>
                                    <p:animEffect transition="in" filter="fade">
                                      <p:cBhvr>
                                        <p:cTn id="19" dur="500"/>
                                        <p:tgtEl>
                                          <p:spTgt spid="1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5">
            <a:extLst>
              <a:ext uri="{FF2B5EF4-FFF2-40B4-BE49-F238E27FC236}">
                <a16:creationId xmlns:a16="http://schemas.microsoft.com/office/drawing/2014/main" id="{B9FA322F-3FC6-E440-42BD-0BDACD1D0967}"/>
              </a:ext>
            </a:extLst>
          </p:cNvPr>
          <p:cNvSpPr>
            <a:spLocks noGrp="1"/>
          </p:cNvSpPr>
          <p:nvPr>
            <p:ph type="body" sz="quarter" idx="12" hasCustomPrompt="1"/>
          </p:nvPr>
        </p:nvSpPr>
        <p:spPr>
          <a:xfrm>
            <a:off x="960438" y="2063750"/>
            <a:ext cx="6380163"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TekstSylinder 2">
            <a:extLst>
              <a:ext uri="{FF2B5EF4-FFF2-40B4-BE49-F238E27FC236}">
                <a16:creationId xmlns:a16="http://schemas.microsoft.com/office/drawing/2014/main" id="{415565FE-E5C2-0F4B-5D74-FE5058500ACC}"/>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207770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fade">
                                      <p:cBhvr>
                                        <p:cTn id="11" dur="500"/>
                                        <p:tgtEl>
                                          <p:spTgt spid="1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fade">
                                      <p:cBhvr>
                                        <p:cTn id="15" dur="500"/>
                                        <p:tgtEl>
                                          <p:spTgt spid="1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Bilde 9">
            <a:extLst>
              <a:ext uri="{FF2B5EF4-FFF2-40B4-BE49-F238E27FC236}">
                <a16:creationId xmlns:a16="http://schemas.microsoft.com/office/drawing/2014/main" id="{81C0186A-099E-A4CA-06A9-9EB9FDE3CE3E}"/>
              </a:ext>
            </a:extLst>
          </p:cNvPr>
          <p:cNvPicPr>
            <a:picLocks noChangeAspect="1"/>
          </p:cNvPicPr>
          <p:nvPr userDrawn="1"/>
        </p:nvPicPr>
        <p:blipFill>
          <a:blip r:embed="rId2"/>
          <a:stretch>
            <a:fillRect/>
          </a:stretch>
        </p:blipFill>
        <p:spPr>
          <a:xfrm>
            <a:off x="11538368" y="226074"/>
            <a:ext cx="412365" cy="412365"/>
          </a:xfrm>
          <a:prstGeom prst="rect">
            <a:avLst/>
          </a:prstGeom>
        </p:spPr>
      </p:pic>
      <p:sp>
        <p:nvSpPr>
          <p:cNvPr id="13" name="Plassholder for tekst 5">
            <a:extLst>
              <a:ext uri="{FF2B5EF4-FFF2-40B4-BE49-F238E27FC236}">
                <a16:creationId xmlns:a16="http://schemas.microsoft.com/office/drawing/2014/main" id="{B98B9A2D-025D-64F7-A6F4-DB096813C14A}"/>
              </a:ext>
            </a:extLst>
          </p:cNvPr>
          <p:cNvSpPr>
            <a:spLocks noGrp="1"/>
          </p:cNvSpPr>
          <p:nvPr>
            <p:ph type="body" sz="quarter" idx="12"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EEE57DB0-1F7F-B527-1814-B95D0C615399}"/>
              </a:ext>
            </a:extLst>
          </p:cNvPr>
          <p:cNvPicPr>
            <a:picLocks noChangeAspect="1"/>
          </p:cNvPicPr>
          <p:nvPr userDrawn="1"/>
        </p:nvPicPr>
        <p:blipFill>
          <a:blip r:embed="rId3">
            <a:alphaModFix amt="25000"/>
          </a:blip>
          <a:stretch>
            <a:fillRect/>
          </a:stretch>
        </p:blipFill>
        <p:spPr>
          <a:xfrm>
            <a:off x="10471506" y="4152452"/>
            <a:ext cx="2866913" cy="2866913"/>
          </a:xfrm>
          <a:prstGeom prst="rect">
            <a:avLst/>
          </a:prstGeom>
        </p:spPr>
      </p:pic>
      <p:sp>
        <p:nvSpPr>
          <p:cNvPr id="17" name="TekstSylinder 16">
            <a:extLst>
              <a:ext uri="{FF2B5EF4-FFF2-40B4-BE49-F238E27FC236}">
                <a16:creationId xmlns:a16="http://schemas.microsoft.com/office/drawing/2014/main" id="{60C04BBE-5EE1-30CB-A9D1-0E365E716C9A}"/>
              </a:ext>
            </a:extLst>
          </p:cNvPr>
          <p:cNvSpPr txBox="1"/>
          <p:nvPr userDrawn="1"/>
        </p:nvSpPr>
        <p:spPr>
          <a:xfrm>
            <a:off x="56335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793342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1"/>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17784840-E013-C132-7D4A-84D7F11C5C0F}"/>
              </a:ext>
            </a:extLst>
          </p:cNvPr>
          <p:cNvSpPr>
            <a:spLocks noGrp="1"/>
          </p:cNvSpPr>
          <p:nvPr>
            <p:ph type="body" sz="quarter" idx="12"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1" name="TekstSylinder 10">
            <a:extLst>
              <a:ext uri="{FF2B5EF4-FFF2-40B4-BE49-F238E27FC236}">
                <a16:creationId xmlns:a16="http://schemas.microsoft.com/office/drawing/2014/main" id="{8DD1CF18-CE6A-9386-5698-802543B3B148}"/>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054433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ontel risk management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2" name="Graphic 3">
            <a:extLst>
              <a:ext uri="{FF2B5EF4-FFF2-40B4-BE49-F238E27FC236}">
                <a16:creationId xmlns:a16="http://schemas.microsoft.com/office/drawing/2014/main" id="{670C1164-37E7-B994-BA1F-9CC39F2D4B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2238124"/>
            <a:ext cx="7529481" cy="1214984"/>
          </a:xfrm>
          <a:prstGeom prst="rect">
            <a:avLst/>
          </a:prstGeom>
        </p:spPr>
      </p:pic>
    </p:spTree>
    <p:extLst>
      <p:ext uri="{BB962C8B-B14F-4D97-AF65-F5344CB8AC3E}">
        <p14:creationId xmlns:p14="http://schemas.microsoft.com/office/powerpoint/2010/main" val="1892600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849B8E55-AE34-BC4F-3C35-3F139DEB711C}"/>
              </a:ext>
            </a:extLst>
          </p:cNvPr>
          <p:cNvPicPr>
            <a:picLocks noChangeAspect="1"/>
          </p:cNvPicPr>
          <p:nvPr userDrawn="1"/>
        </p:nvPicPr>
        <p:blipFill>
          <a:blip r:embed="rId4"/>
          <a:stretch>
            <a:fillRect/>
          </a:stretch>
        </p:blipFill>
        <p:spPr>
          <a:xfrm>
            <a:off x="11538368" y="223863"/>
            <a:ext cx="422816" cy="422816"/>
          </a:xfrm>
          <a:prstGeom prst="rect">
            <a:avLst/>
          </a:prstGeom>
        </p:spPr>
      </p:pic>
      <p:pic>
        <p:nvPicPr>
          <p:cNvPr id="13" name="Bilde 12">
            <a:extLst>
              <a:ext uri="{FF2B5EF4-FFF2-40B4-BE49-F238E27FC236}">
                <a16:creationId xmlns:a16="http://schemas.microsoft.com/office/drawing/2014/main" id="{D36615BD-3C04-E957-CB26-31F848FF9B97}"/>
              </a:ext>
            </a:extLst>
          </p:cNvPr>
          <p:cNvPicPr>
            <a:picLocks noChangeAspect="1"/>
          </p:cNvPicPr>
          <p:nvPr userDrawn="1"/>
        </p:nvPicPr>
        <p:blipFill>
          <a:blip r:embed="rId5">
            <a:alphaModFix amt="30000"/>
          </a:blip>
          <a:stretch>
            <a:fillRect/>
          </a:stretch>
        </p:blipFill>
        <p:spPr>
          <a:xfrm>
            <a:off x="10469341" y="4727450"/>
            <a:ext cx="2326479" cy="2541358"/>
          </a:xfrm>
          <a:prstGeom prst="rect">
            <a:avLst/>
          </a:prstGeom>
        </p:spPr>
      </p:pic>
      <p:sp>
        <p:nvSpPr>
          <p:cNvPr id="16" name="Plassholder for tekst 5">
            <a:extLst>
              <a:ext uri="{FF2B5EF4-FFF2-40B4-BE49-F238E27FC236}">
                <a16:creationId xmlns:a16="http://schemas.microsoft.com/office/drawing/2014/main" id="{176B2F9E-0111-9960-BD0E-4BE2C231AF1B}"/>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8" name="TekstSylinder 17">
            <a:extLst>
              <a:ext uri="{FF2B5EF4-FFF2-40B4-BE49-F238E27FC236}">
                <a16:creationId xmlns:a16="http://schemas.microsoft.com/office/drawing/2014/main" id="{EBE3295C-9DB8-8A9D-2F48-FBD44A3AFBA1}"/>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823130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500"/>
                                        <p:tgtEl>
                                          <p:spTgt spid="1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18AAD13C-7BAA-3073-E34D-6C47BF9BE923}"/>
              </a:ext>
            </a:extLst>
          </p:cNvPr>
          <p:cNvSpPr>
            <a:spLocks noGrp="1"/>
          </p:cNvSpPr>
          <p:nvPr>
            <p:ph type="body" sz="quarter" idx="16" hasCustomPrompt="1"/>
          </p:nvPr>
        </p:nvSpPr>
        <p:spPr>
          <a:xfrm>
            <a:off x="959978" y="2072789"/>
            <a:ext cx="608628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AD72741D-5808-A477-CE46-341710C6A48E}"/>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266088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go + payoff - bubbles and dark backgroun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456D56E1-22A6-AAF0-D581-51E1E974E4AF}"/>
              </a:ext>
            </a:extLst>
          </p:cNvPr>
          <p:cNvPicPr>
            <a:picLocks noChangeAspect="1"/>
          </p:cNvPicPr>
          <p:nvPr userDrawn="1"/>
        </p:nvPicPr>
        <p:blipFill rotWithShape="1">
          <a:blip r:embed="rId2"/>
          <a:srcRect t="6932"/>
          <a:stretch/>
        </p:blipFill>
        <p:spPr>
          <a:xfrm>
            <a:off x="-70338" y="0"/>
            <a:ext cx="12262337" cy="6858000"/>
          </a:xfrm>
          <a:prstGeom prst="rect">
            <a:avLst/>
          </a:prstGeom>
        </p:spPr>
      </p:pic>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500" t="31869" r="12500" b="32409"/>
          <a:stretch/>
        </p:blipFill>
        <p:spPr>
          <a:xfrm>
            <a:off x="9601200" y="5928568"/>
            <a:ext cx="1840366" cy="333247"/>
          </a:xfrm>
          <a:prstGeom prst="rect">
            <a:avLst/>
          </a:prstGeom>
        </p:spPr>
      </p:pic>
      <p:sp>
        <p:nvSpPr>
          <p:cNvPr id="4" name="Plassholder for tekst 19">
            <a:extLst>
              <a:ext uri="{FF2B5EF4-FFF2-40B4-BE49-F238E27FC236}">
                <a16:creationId xmlns:a16="http://schemas.microsoft.com/office/drawing/2014/main" id="{6C57BF06-A03F-8310-1354-6A90D702E235}"/>
              </a:ext>
            </a:extLst>
          </p:cNvPr>
          <p:cNvSpPr>
            <a:spLocks noGrp="1"/>
          </p:cNvSpPr>
          <p:nvPr>
            <p:ph type="body" sz="quarter" idx="10" hasCustomPrompt="1"/>
          </p:nvPr>
        </p:nvSpPr>
        <p:spPr>
          <a:xfrm>
            <a:off x="1068007" y="989962"/>
            <a:ext cx="8471189" cy="1700081"/>
          </a:xfrm>
          <a:prstGeom prst="rect">
            <a:avLst/>
          </a:prstGeom>
        </p:spPr>
        <p:txBody>
          <a:bodyPr anchor="t"/>
          <a:lstStyle>
            <a:lvl1pPr marL="0" indent="0">
              <a:buNone/>
              <a:defRPr sz="5000" b="0" i="0">
                <a:solidFill>
                  <a:schemeClr val="bg1"/>
                </a:solidFill>
                <a:latin typeface="Haffer Light" pitchFamily="2" charset="77"/>
                <a:cs typeface="Haffer Light" pitchFamily="2" charset="77"/>
              </a:defRPr>
            </a:lvl1pPr>
          </a:lstStyle>
          <a:p>
            <a:pPr lvl="0"/>
            <a:r>
              <a:rPr lang="nb-NO"/>
              <a:t>Presentation </a:t>
            </a:r>
            <a:r>
              <a:rPr lang="nb-NO" err="1"/>
              <a:t>title</a:t>
            </a:r>
            <a:endParaRPr lang="nb-NO"/>
          </a:p>
        </p:txBody>
      </p:sp>
    </p:spTree>
    <p:extLst>
      <p:ext uri="{BB962C8B-B14F-4D97-AF65-F5344CB8AC3E}">
        <p14:creationId xmlns:p14="http://schemas.microsoft.com/office/powerpoint/2010/main" val="28471021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A977EE6E-8834-D202-2841-D68CDFC995F7}"/>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Bilde 9">
            <a:extLst>
              <a:ext uri="{FF2B5EF4-FFF2-40B4-BE49-F238E27FC236}">
                <a16:creationId xmlns:a16="http://schemas.microsoft.com/office/drawing/2014/main" id="{6C4FBD22-99B3-25D3-2BFD-7E652B5F42F4}"/>
              </a:ext>
            </a:extLst>
          </p:cNvPr>
          <p:cNvPicPr>
            <a:picLocks noChangeAspect="1"/>
          </p:cNvPicPr>
          <p:nvPr userDrawn="1"/>
        </p:nvPicPr>
        <p:blipFill>
          <a:blip r:embed="rId2">
            <a:alphaModFix amt="30000"/>
          </a:blip>
          <a:stretch>
            <a:fillRect/>
          </a:stretch>
        </p:blipFill>
        <p:spPr>
          <a:xfrm>
            <a:off x="10469341" y="4727450"/>
            <a:ext cx="2326479" cy="2541358"/>
          </a:xfrm>
          <a:prstGeom prst="rect">
            <a:avLst/>
          </a:prstGeom>
        </p:spPr>
      </p:pic>
      <p:pic>
        <p:nvPicPr>
          <p:cNvPr id="12" name="Bilde 11">
            <a:extLst>
              <a:ext uri="{FF2B5EF4-FFF2-40B4-BE49-F238E27FC236}">
                <a16:creationId xmlns:a16="http://schemas.microsoft.com/office/drawing/2014/main" id="{026BB662-E771-C7C5-9F1A-7B227E585795}"/>
              </a:ext>
            </a:extLst>
          </p:cNvPr>
          <p:cNvPicPr>
            <a:picLocks noChangeAspect="1"/>
          </p:cNvPicPr>
          <p:nvPr userDrawn="1"/>
        </p:nvPicPr>
        <p:blipFill>
          <a:blip r:embed="rId3"/>
          <a:stretch>
            <a:fillRect/>
          </a:stretch>
        </p:blipFill>
        <p:spPr>
          <a:xfrm>
            <a:off x="11538368" y="223863"/>
            <a:ext cx="422816" cy="422816"/>
          </a:xfrm>
          <a:prstGeom prst="rect">
            <a:avLst/>
          </a:prstGeom>
        </p:spPr>
      </p:pic>
      <p:sp>
        <p:nvSpPr>
          <p:cNvPr id="13" name="TekstSylinder 12">
            <a:extLst>
              <a:ext uri="{FF2B5EF4-FFF2-40B4-BE49-F238E27FC236}">
                <a16:creationId xmlns:a16="http://schemas.microsoft.com/office/drawing/2014/main" id="{475A21D4-0D45-BC60-7963-1CAE78BBB514}"/>
              </a:ext>
            </a:extLst>
          </p:cNvPr>
          <p:cNvSpPr txBox="1"/>
          <p:nvPr userDrawn="1"/>
        </p:nvSpPr>
        <p:spPr>
          <a:xfrm>
            <a:off x="56335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2398727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3311C4FB-E54E-532E-8876-B35A4F55019D}"/>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F122117C-CCD4-2064-CC00-01608B3E452D}"/>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3444276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ontel event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4" name="Graphic 6">
            <a:extLst>
              <a:ext uri="{FF2B5EF4-FFF2-40B4-BE49-F238E27FC236}">
                <a16:creationId xmlns:a16="http://schemas.microsoft.com/office/drawing/2014/main" id="{A559E273-D079-B8BF-1696-FFE6185EB1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6" y="1988839"/>
            <a:ext cx="5201296" cy="1722980"/>
          </a:xfrm>
          <a:prstGeom prst="rect">
            <a:avLst/>
          </a:prstGeom>
        </p:spPr>
      </p:pic>
    </p:spTree>
    <p:extLst>
      <p:ext uri="{BB962C8B-B14F-4D97-AF65-F5344CB8AC3E}">
        <p14:creationId xmlns:p14="http://schemas.microsoft.com/office/powerpoint/2010/main" val="13892238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23C42E47-392E-B921-116D-DBF91E131D3A}"/>
              </a:ext>
            </a:extLst>
          </p:cNvPr>
          <p:cNvPicPr>
            <a:picLocks noChangeAspect="1"/>
          </p:cNvPicPr>
          <p:nvPr userDrawn="1"/>
        </p:nvPicPr>
        <p:blipFill>
          <a:blip r:embed="rId4"/>
          <a:stretch>
            <a:fillRect/>
          </a:stretch>
        </p:blipFill>
        <p:spPr>
          <a:xfrm>
            <a:off x="11538366" y="232679"/>
            <a:ext cx="422817" cy="422817"/>
          </a:xfrm>
          <a:prstGeom prst="rect">
            <a:avLst/>
          </a:prstGeom>
        </p:spPr>
      </p:pic>
      <p:pic>
        <p:nvPicPr>
          <p:cNvPr id="13" name="Bilde 12">
            <a:extLst>
              <a:ext uri="{FF2B5EF4-FFF2-40B4-BE49-F238E27FC236}">
                <a16:creationId xmlns:a16="http://schemas.microsoft.com/office/drawing/2014/main" id="{6CA85AB7-6971-8416-7727-01D460C920AF}"/>
              </a:ext>
            </a:extLst>
          </p:cNvPr>
          <p:cNvPicPr>
            <a:picLocks noChangeAspect="1"/>
          </p:cNvPicPr>
          <p:nvPr userDrawn="1"/>
        </p:nvPicPr>
        <p:blipFill>
          <a:blip r:embed="rId5">
            <a:alphaModFix amt="30000"/>
          </a:blip>
          <a:stretch>
            <a:fillRect/>
          </a:stretch>
        </p:blipFill>
        <p:spPr>
          <a:xfrm>
            <a:off x="10283698" y="4973725"/>
            <a:ext cx="2221353" cy="2221353"/>
          </a:xfrm>
          <a:prstGeom prst="rect">
            <a:avLst/>
          </a:prstGeom>
        </p:spPr>
      </p:pic>
      <p:sp>
        <p:nvSpPr>
          <p:cNvPr id="15" name="Plassholder for tekst 5">
            <a:extLst>
              <a:ext uri="{FF2B5EF4-FFF2-40B4-BE49-F238E27FC236}">
                <a16:creationId xmlns:a16="http://schemas.microsoft.com/office/drawing/2014/main" id="{DB85B4DF-C4B2-8DA3-F55F-620BA0E3F8AC}"/>
              </a:ext>
            </a:extLst>
          </p:cNvPr>
          <p:cNvSpPr>
            <a:spLocks noGrp="1"/>
          </p:cNvSpPr>
          <p:nvPr>
            <p:ph type="body" sz="quarter" idx="16" hasCustomPrompt="1"/>
          </p:nvPr>
        </p:nvSpPr>
        <p:spPr>
          <a:xfrm>
            <a:off x="959978" y="2072789"/>
            <a:ext cx="9181088"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7" name="TekstSylinder 16">
            <a:extLst>
              <a:ext uri="{FF2B5EF4-FFF2-40B4-BE49-F238E27FC236}">
                <a16:creationId xmlns:a16="http://schemas.microsoft.com/office/drawing/2014/main" id="{06E4ED4B-1BCC-B523-E7B0-99B5F178A906}"/>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4047402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5">
                                            <p:txEl>
                                              <p:pRg st="1" end="1"/>
                                            </p:txEl>
                                          </p:spTgt>
                                        </p:tgtEl>
                                        <p:attrNameLst>
                                          <p:attrName>style.visibility</p:attrName>
                                        </p:attrNameLst>
                                      </p:cBhvr>
                                      <p:to>
                                        <p:strVal val="visible"/>
                                      </p:to>
                                    </p:set>
                                    <p:animEffect transition="in" filter="fade">
                                      <p:cBhvr>
                                        <p:cTn id="15" dur="500"/>
                                        <p:tgtEl>
                                          <p:spTgt spid="15">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animEffect transition="in" filter="fade">
                                      <p:cBhvr>
                                        <p:cTn id="19"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00D03B8D-0D29-78CC-D194-E9B5F9153CE4}"/>
              </a:ext>
            </a:extLst>
          </p:cNvPr>
          <p:cNvSpPr>
            <a:spLocks noGrp="1"/>
          </p:cNvSpPr>
          <p:nvPr>
            <p:ph type="body" sz="quarter" idx="16" hasCustomPrompt="1"/>
          </p:nvPr>
        </p:nvSpPr>
        <p:spPr>
          <a:xfrm>
            <a:off x="959978" y="2072789"/>
            <a:ext cx="594643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E0626223-7550-3AC9-8CDA-BE43428B979B}"/>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1314851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0EF7116F-9018-CDB6-7FBC-029F7835673A}"/>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2" name="Bilde 11">
            <a:extLst>
              <a:ext uri="{FF2B5EF4-FFF2-40B4-BE49-F238E27FC236}">
                <a16:creationId xmlns:a16="http://schemas.microsoft.com/office/drawing/2014/main" id="{B9D33007-C083-AB49-0661-798BF43493A5}"/>
              </a:ext>
            </a:extLst>
          </p:cNvPr>
          <p:cNvPicPr>
            <a:picLocks noChangeAspect="1"/>
          </p:cNvPicPr>
          <p:nvPr userDrawn="1"/>
        </p:nvPicPr>
        <p:blipFill>
          <a:blip r:embed="rId2">
            <a:alphaModFix amt="30000"/>
          </a:blip>
          <a:stretch>
            <a:fillRect/>
          </a:stretch>
        </p:blipFill>
        <p:spPr>
          <a:xfrm>
            <a:off x="10283698" y="4973725"/>
            <a:ext cx="2221353" cy="2221353"/>
          </a:xfrm>
          <a:prstGeom prst="rect">
            <a:avLst/>
          </a:prstGeom>
        </p:spPr>
      </p:pic>
      <p:pic>
        <p:nvPicPr>
          <p:cNvPr id="13" name="Bilde 12">
            <a:extLst>
              <a:ext uri="{FF2B5EF4-FFF2-40B4-BE49-F238E27FC236}">
                <a16:creationId xmlns:a16="http://schemas.microsoft.com/office/drawing/2014/main" id="{99E7E3A6-B9EA-C622-E97B-D97326FFD115}"/>
              </a:ext>
            </a:extLst>
          </p:cNvPr>
          <p:cNvPicPr>
            <a:picLocks noChangeAspect="1"/>
          </p:cNvPicPr>
          <p:nvPr userDrawn="1"/>
        </p:nvPicPr>
        <p:blipFill>
          <a:blip r:embed="rId3"/>
          <a:stretch>
            <a:fillRect/>
          </a:stretch>
        </p:blipFill>
        <p:spPr>
          <a:xfrm>
            <a:off x="11538366" y="232679"/>
            <a:ext cx="422817" cy="422817"/>
          </a:xfrm>
          <a:prstGeom prst="rect">
            <a:avLst/>
          </a:prstGeom>
        </p:spPr>
      </p:pic>
      <p:sp>
        <p:nvSpPr>
          <p:cNvPr id="14" name="TekstSylinder 13">
            <a:extLst>
              <a:ext uri="{FF2B5EF4-FFF2-40B4-BE49-F238E27FC236}">
                <a16:creationId xmlns:a16="http://schemas.microsoft.com/office/drawing/2014/main" id="{979B0FBD-6B4A-2129-8D58-D8C74CDCF604}"/>
              </a:ext>
            </a:extLst>
          </p:cNvPr>
          <p:cNvSpPr txBox="1"/>
          <p:nvPr userDrawn="1"/>
        </p:nvSpPr>
        <p:spPr>
          <a:xfrm>
            <a:off x="56335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862720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F577C597-D2DF-6A8F-05BF-9CA3C43A1EF1}"/>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0" name="TekstSylinder 9">
            <a:extLst>
              <a:ext uri="{FF2B5EF4-FFF2-40B4-BE49-F238E27FC236}">
                <a16:creationId xmlns:a16="http://schemas.microsoft.com/office/drawing/2014/main" id="{716C0605-3963-2610-A64D-2F95B2138163}"/>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2333117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ontel analysi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4" name="Graphic 2">
            <a:extLst>
              <a:ext uri="{FF2B5EF4-FFF2-40B4-BE49-F238E27FC236}">
                <a16:creationId xmlns:a16="http://schemas.microsoft.com/office/drawing/2014/main" id="{A5D836B5-E5AE-637B-EA18-619B912AE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2000524"/>
            <a:ext cx="5930278" cy="1725613"/>
          </a:xfrm>
          <a:prstGeom prst="rect">
            <a:avLst/>
          </a:prstGeom>
        </p:spPr>
      </p:pic>
    </p:spTree>
    <p:extLst>
      <p:ext uri="{BB962C8B-B14F-4D97-AF65-F5344CB8AC3E}">
        <p14:creationId xmlns:p14="http://schemas.microsoft.com/office/powerpoint/2010/main" val="24167685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4A9587C8-5E5C-F829-AB06-20866578F519}"/>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8585E747-9D42-5F15-F330-CA80A97545AB}"/>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7CB28B4B-968E-B879-B5F4-8E513B6AAAC8}"/>
              </a:ext>
            </a:extLst>
          </p:cNvPr>
          <p:cNvPicPr>
            <a:picLocks noChangeAspect="1"/>
          </p:cNvPicPr>
          <p:nvPr userDrawn="1"/>
        </p:nvPicPr>
        <p:blipFill>
          <a:blip r:embed="rId5">
            <a:alphaModFix amt="30000"/>
          </a:blip>
          <a:stretch>
            <a:fillRect/>
          </a:stretch>
        </p:blipFill>
        <p:spPr>
          <a:xfrm>
            <a:off x="9937733" y="4582044"/>
            <a:ext cx="2588580" cy="2155045"/>
          </a:xfrm>
          <a:prstGeom prst="rect">
            <a:avLst/>
          </a:prstGeom>
        </p:spPr>
      </p:pic>
      <p:sp>
        <p:nvSpPr>
          <p:cNvPr id="16" name="TekstSylinder 15">
            <a:extLst>
              <a:ext uri="{FF2B5EF4-FFF2-40B4-BE49-F238E27FC236}">
                <a16:creationId xmlns:a16="http://schemas.microsoft.com/office/drawing/2014/main" id="{E7568260-739D-9CEB-B861-E3D20EF60A9A}"/>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266721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0B547129-12A9-BEC7-747B-D34BB6A04651}"/>
              </a:ext>
            </a:extLst>
          </p:cNvPr>
          <p:cNvSpPr>
            <a:spLocks noGrp="1"/>
          </p:cNvSpPr>
          <p:nvPr>
            <p:ph type="body" sz="quarter" idx="16" hasCustomPrompt="1"/>
          </p:nvPr>
        </p:nvSpPr>
        <p:spPr>
          <a:xfrm>
            <a:off x="959977" y="2072789"/>
            <a:ext cx="59356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92B9CD70-52FC-CD7E-C5CE-D88A3BF6CD5E}"/>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2871438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 white background">
    <p:spTree>
      <p:nvGrpSpPr>
        <p:cNvPr id="1" name=""/>
        <p:cNvGrpSpPr/>
        <p:nvPr/>
      </p:nvGrpSpPr>
      <p:grpSpPr>
        <a:xfrm>
          <a:off x="0" y="0"/>
          <a:ext cx="0" cy="0"/>
          <a:chOff x="0" y="0"/>
          <a:chExt cx="0" cy="0"/>
        </a:xfrm>
      </p:grpSpPr>
      <p:grpSp>
        <p:nvGrpSpPr>
          <p:cNvPr id="18" name="Gruppe 17">
            <a:extLst>
              <a:ext uri="{FF2B5EF4-FFF2-40B4-BE49-F238E27FC236}">
                <a16:creationId xmlns:a16="http://schemas.microsoft.com/office/drawing/2014/main" id="{DBF706C2-A6ED-897E-B994-DAD12B7D9CD2}"/>
              </a:ext>
            </a:extLst>
          </p:cNvPr>
          <p:cNvGrpSpPr/>
          <p:nvPr userDrawn="1"/>
        </p:nvGrpSpPr>
        <p:grpSpPr>
          <a:xfrm>
            <a:off x="3210709" y="3161790"/>
            <a:ext cx="5770583" cy="534421"/>
            <a:chOff x="1869557" y="3038867"/>
            <a:chExt cx="8450697" cy="782630"/>
          </a:xfrm>
        </p:grpSpPr>
        <p:grpSp>
          <p:nvGrpSpPr>
            <p:cNvPr id="2" name="Graphic 10">
              <a:extLst>
                <a:ext uri="{FF2B5EF4-FFF2-40B4-BE49-F238E27FC236}">
                  <a16:creationId xmlns:a16="http://schemas.microsoft.com/office/drawing/2014/main" id="{4B60B40B-B9C2-1D4A-435F-E8440EAD1FC3}"/>
                </a:ext>
              </a:extLst>
            </p:cNvPr>
            <p:cNvGrpSpPr/>
            <p:nvPr userDrawn="1"/>
          </p:nvGrpSpPr>
          <p:grpSpPr>
            <a:xfrm>
              <a:off x="1869557" y="3038867"/>
              <a:ext cx="4569287" cy="782630"/>
              <a:chOff x="1869557" y="3038867"/>
              <a:chExt cx="4569287" cy="782630"/>
            </a:xfrm>
            <a:solidFill>
              <a:srgbClr val="01796F"/>
            </a:solidFill>
          </p:grpSpPr>
          <p:sp>
            <p:nvSpPr>
              <p:cNvPr id="3" name="Freeform: Shape 12">
                <a:extLst>
                  <a:ext uri="{FF2B5EF4-FFF2-40B4-BE49-F238E27FC236}">
                    <a16:creationId xmlns:a16="http://schemas.microsoft.com/office/drawing/2014/main" id="{16718C6F-5C73-784E-9186-D723B4777929}"/>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4" name="Freeform: Shape 13">
                <a:extLst>
                  <a:ext uri="{FF2B5EF4-FFF2-40B4-BE49-F238E27FC236}">
                    <a16:creationId xmlns:a16="http://schemas.microsoft.com/office/drawing/2014/main" id="{532327F8-CF4E-13E5-2365-1D861680EB4C}"/>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5" name="Freeform: Shape 14">
                <a:extLst>
                  <a:ext uri="{FF2B5EF4-FFF2-40B4-BE49-F238E27FC236}">
                    <a16:creationId xmlns:a16="http://schemas.microsoft.com/office/drawing/2014/main" id="{AD8E1528-58B2-BC8C-C0C4-93AED80EFB45}"/>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6" name="Freeform: Shape 15">
                <a:extLst>
                  <a:ext uri="{FF2B5EF4-FFF2-40B4-BE49-F238E27FC236}">
                    <a16:creationId xmlns:a16="http://schemas.microsoft.com/office/drawing/2014/main" id="{7483239B-1700-FFA2-0EBC-6CB67B4D814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A907E126-9AAC-0BF4-025A-32CB56EDADB1}"/>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12F230FD-86EA-CD17-F4BA-F4D8EB0512AE}"/>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grpSp>
          <p:nvGrpSpPr>
            <p:cNvPr id="12" name="Graphic 10">
              <a:extLst>
                <a:ext uri="{FF2B5EF4-FFF2-40B4-BE49-F238E27FC236}">
                  <a16:creationId xmlns:a16="http://schemas.microsoft.com/office/drawing/2014/main" id="{DCBB51C4-224F-5B08-BCD0-ED59046061F9}"/>
                </a:ext>
              </a:extLst>
            </p:cNvPr>
            <p:cNvGrpSpPr/>
            <p:nvPr userDrawn="1"/>
          </p:nvGrpSpPr>
          <p:grpSpPr>
            <a:xfrm>
              <a:off x="6695031" y="3038867"/>
              <a:ext cx="3625223" cy="782630"/>
              <a:chOff x="6695031" y="3038867"/>
              <a:chExt cx="3625223" cy="782630"/>
            </a:xfrm>
            <a:solidFill>
              <a:srgbClr val="01796F"/>
            </a:solidFill>
          </p:grpSpPr>
          <p:sp>
            <p:nvSpPr>
              <p:cNvPr id="13" name="Freeform: Shape 19">
                <a:extLst>
                  <a:ext uri="{FF2B5EF4-FFF2-40B4-BE49-F238E27FC236}">
                    <a16:creationId xmlns:a16="http://schemas.microsoft.com/office/drawing/2014/main" id="{947349B2-9031-B98F-1C64-F96AB9F0B718}"/>
                  </a:ext>
                </a:extLst>
              </p:cNvPr>
              <p:cNvSpPr/>
              <p:nvPr/>
            </p:nvSpPr>
            <p:spPr>
              <a:xfrm>
                <a:off x="9091809" y="3047615"/>
                <a:ext cx="573850" cy="773881"/>
              </a:xfrm>
              <a:custGeom>
                <a:avLst/>
                <a:gdLst>
                  <a:gd name="connsiteX0" fmla="*/ 0 w 573850"/>
                  <a:gd name="connsiteY0" fmla="*/ 502799 h 773881"/>
                  <a:gd name="connsiteX1" fmla="*/ 0 w 573850"/>
                  <a:gd name="connsiteY1" fmla="*/ 0 h 773881"/>
                  <a:gd name="connsiteX2" fmla="*/ 73238 w 573850"/>
                  <a:gd name="connsiteY2" fmla="*/ 0 h 773881"/>
                  <a:gd name="connsiteX3" fmla="*/ 73238 w 573850"/>
                  <a:gd name="connsiteY3" fmla="*/ 502799 h 773881"/>
                  <a:gd name="connsiteX4" fmla="*/ 287457 w 573850"/>
                  <a:gd name="connsiteY4" fmla="*/ 709392 h 773881"/>
                  <a:gd name="connsiteX5" fmla="*/ 500611 w 573850"/>
                  <a:gd name="connsiteY5" fmla="*/ 502799 h 773881"/>
                  <a:gd name="connsiteX6" fmla="*/ 500611 w 573850"/>
                  <a:gd name="connsiteY6" fmla="*/ 0 h 773881"/>
                  <a:gd name="connsiteX7" fmla="*/ 573850 w 573850"/>
                  <a:gd name="connsiteY7" fmla="*/ 0 h 773881"/>
                  <a:gd name="connsiteX8" fmla="*/ 573850 w 573850"/>
                  <a:gd name="connsiteY8" fmla="*/ 502799 h 773881"/>
                  <a:gd name="connsiteX9" fmla="*/ 287457 w 573850"/>
                  <a:gd name="connsiteY9" fmla="*/ 773882 h 773881"/>
                  <a:gd name="connsiteX10" fmla="*/ 0 w 573850"/>
                  <a:gd name="connsiteY10" fmla="*/ 502799 h 7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3850" h="773881">
                    <a:moveTo>
                      <a:pt x="0" y="502799"/>
                    </a:moveTo>
                    <a:lnTo>
                      <a:pt x="0" y="0"/>
                    </a:lnTo>
                    <a:lnTo>
                      <a:pt x="73238" y="0"/>
                    </a:lnTo>
                    <a:lnTo>
                      <a:pt x="73238" y="502799"/>
                    </a:lnTo>
                    <a:cubicBezTo>
                      <a:pt x="73238" y="624154"/>
                      <a:pt x="161787" y="709392"/>
                      <a:pt x="287457" y="709392"/>
                    </a:cubicBezTo>
                    <a:cubicBezTo>
                      <a:pt x="413127" y="709392"/>
                      <a:pt x="500611" y="624154"/>
                      <a:pt x="500611" y="502799"/>
                    </a:cubicBezTo>
                    <a:lnTo>
                      <a:pt x="500611" y="0"/>
                    </a:lnTo>
                    <a:lnTo>
                      <a:pt x="573850" y="0"/>
                    </a:lnTo>
                    <a:lnTo>
                      <a:pt x="573850" y="502799"/>
                    </a:lnTo>
                    <a:cubicBezTo>
                      <a:pt x="573850" y="662399"/>
                      <a:pt x="456869" y="773882"/>
                      <a:pt x="287457" y="773882"/>
                    </a:cubicBezTo>
                    <a:cubicBezTo>
                      <a:pt x="118045" y="773882"/>
                      <a:pt x="0" y="662399"/>
                      <a:pt x="0" y="502799"/>
                    </a:cubicBezTo>
                    <a:close/>
                  </a:path>
                </a:pathLst>
              </a:custGeom>
              <a:grpFill/>
              <a:ln w="5908" cap="flat">
                <a:noFill/>
                <a:prstDash val="solid"/>
                <a:miter/>
              </a:ln>
            </p:spPr>
            <p:txBody>
              <a:bodyPr rtlCol="0" anchor="ctr"/>
              <a:lstStyle/>
              <a:p>
                <a:endParaRPr lang="en-US"/>
              </a:p>
            </p:txBody>
          </p:sp>
          <p:sp>
            <p:nvSpPr>
              <p:cNvPr id="14" name="Freeform: Shape 20">
                <a:extLst>
                  <a:ext uri="{FF2B5EF4-FFF2-40B4-BE49-F238E27FC236}">
                    <a16:creationId xmlns:a16="http://schemas.microsoft.com/office/drawing/2014/main" id="{1B04C564-6BEF-A717-080C-7B3F049DFB8F}"/>
                  </a:ext>
                </a:extLst>
              </p:cNvPr>
              <p:cNvSpPr/>
              <p:nvPr/>
            </p:nvSpPr>
            <p:spPr>
              <a:xfrm>
                <a:off x="9796650" y="3047615"/>
                <a:ext cx="523605" cy="765074"/>
              </a:xfrm>
              <a:custGeom>
                <a:avLst/>
                <a:gdLst>
                  <a:gd name="connsiteX0" fmla="*/ 0 w 523605"/>
                  <a:gd name="connsiteY0" fmla="*/ 0 h 765074"/>
                  <a:gd name="connsiteX1" fmla="*/ 288580 w 523605"/>
                  <a:gd name="connsiteY1" fmla="*/ 0 h 765074"/>
                  <a:gd name="connsiteX2" fmla="*/ 523606 w 523605"/>
                  <a:gd name="connsiteY2" fmla="*/ 214218 h 765074"/>
                  <a:gd name="connsiteX3" fmla="*/ 288580 w 523605"/>
                  <a:gd name="connsiteY3" fmla="*/ 428437 h 765074"/>
                  <a:gd name="connsiteX4" fmla="*/ 73238 w 523605"/>
                  <a:gd name="connsiteY4" fmla="*/ 428437 h 765074"/>
                  <a:gd name="connsiteX5" fmla="*/ 73238 w 523605"/>
                  <a:gd name="connsiteY5" fmla="*/ 765075 h 765074"/>
                  <a:gd name="connsiteX6" fmla="*/ 0 w 523605"/>
                  <a:gd name="connsiteY6" fmla="*/ 765075 h 765074"/>
                  <a:gd name="connsiteX7" fmla="*/ 0 w 523605"/>
                  <a:gd name="connsiteY7" fmla="*/ 0 h 765074"/>
                  <a:gd name="connsiteX8" fmla="*/ 283082 w 523605"/>
                  <a:gd name="connsiteY8" fmla="*/ 365070 h 765074"/>
                  <a:gd name="connsiteX9" fmla="*/ 450308 w 523605"/>
                  <a:gd name="connsiteY9" fmla="*/ 214218 h 765074"/>
                  <a:gd name="connsiteX10" fmla="*/ 283082 w 523605"/>
                  <a:gd name="connsiteY10" fmla="*/ 64490 h 765074"/>
                  <a:gd name="connsiteX11" fmla="*/ 73238 w 523605"/>
                  <a:gd name="connsiteY11" fmla="*/ 64490 h 765074"/>
                  <a:gd name="connsiteX12" fmla="*/ 73238 w 523605"/>
                  <a:gd name="connsiteY12" fmla="*/ 365070 h 765074"/>
                  <a:gd name="connsiteX13" fmla="*/ 283082 w 523605"/>
                  <a:gd name="connsiteY13" fmla="*/ 36507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05" h="765074">
                    <a:moveTo>
                      <a:pt x="0" y="0"/>
                    </a:moveTo>
                    <a:lnTo>
                      <a:pt x="288580" y="0"/>
                    </a:lnTo>
                    <a:cubicBezTo>
                      <a:pt x="430683" y="0"/>
                      <a:pt x="523606" y="85238"/>
                      <a:pt x="523606" y="214218"/>
                    </a:cubicBezTo>
                    <a:cubicBezTo>
                      <a:pt x="523606" y="343199"/>
                      <a:pt x="430683" y="428437"/>
                      <a:pt x="288580" y="428437"/>
                    </a:cubicBezTo>
                    <a:lnTo>
                      <a:pt x="73238" y="428437"/>
                    </a:lnTo>
                    <a:lnTo>
                      <a:pt x="73238" y="765075"/>
                    </a:lnTo>
                    <a:lnTo>
                      <a:pt x="0" y="765075"/>
                    </a:lnTo>
                    <a:lnTo>
                      <a:pt x="0" y="0"/>
                    </a:lnTo>
                    <a:close/>
                    <a:moveTo>
                      <a:pt x="283082" y="365070"/>
                    </a:moveTo>
                    <a:cubicBezTo>
                      <a:pt x="384754" y="365070"/>
                      <a:pt x="450308" y="304954"/>
                      <a:pt x="450308" y="214218"/>
                    </a:cubicBezTo>
                    <a:cubicBezTo>
                      <a:pt x="450308" y="123483"/>
                      <a:pt x="384695" y="64490"/>
                      <a:pt x="283082" y="64490"/>
                    </a:cubicBezTo>
                    <a:lnTo>
                      <a:pt x="73238" y="64490"/>
                    </a:lnTo>
                    <a:lnTo>
                      <a:pt x="73238" y="365070"/>
                    </a:lnTo>
                    <a:lnTo>
                      <a:pt x="283082" y="365070"/>
                    </a:lnTo>
                    <a:close/>
                  </a:path>
                </a:pathLst>
              </a:custGeom>
              <a:grpFill/>
              <a:ln w="5908" cap="flat">
                <a:noFill/>
                <a:prstDash val="solid"/>
                <a:miter/>
              </a:ln>
            </p:spPr>
            <p:txBody>
              <a:bodyPr rtlCol="0" anchor="ctr"/>
              <a:lstStyle/>
              <a:p>
                <a:endParaRPr lang="en-US"/>
              </a:p>
            </p:txBody>
          </p:sp>
          <p:sp>
            <p:nvSpPr>
              <p:cNvPr id="15" name="Freeform: Shape 21">
                <a:extLst>
                  <a:ext uri="{FF2B5EF4-FFF2-40B4-BE49-F238E27FC236}">
                    <a16:creationId xmlns:a16="http://schemas.microsoft.com/office/drawing/2014/main" id="{26B5BDDB-97C1-F364-864E-0650CECA19A0}"/>
                  </a:ext>
                </a:extLst>
              </p:cNvPr>
              <p:cNvSpPr/>
              <p:nvPr/>
            </p:nvSpPr>
            <p:spPr>
              <a:xfrm>
                <a:off x="8205024" y="3038867"/>
                <a:ext cx="782630" cy="782630"/>
              </a:xfrm>
              <a:custGeom>
                <a:avLst/>
                <a:gdLst>
                  <a:gd name="connsiteX0" fmla="*/ 391315 w 782630"/>
                  <a:gd name="connsiteY0" fmla="*/ 73061 h 782630"/>
                  <a:gd name="connsiteX1" fmla="*/ 709569 w 782630"/>
                  <a:gd name="connsiteY1" fmla="*/ 391315 h 782630"/>
                  <a:gd name="connsiteX2" fmla="*/ 391315 w 782630"/>
                  <a:gd name="connsiteY2" fmla="*/ 709569 h 782630"/>
                  <a:gd name="connsiteX3" fmla="*/ 73061 w 782630"/>
                  <a:gd name="connsiteY3" fmla="*/ 391315 h 782630"/>
                  <a:gd name="connsiteX4" fmla="*/ 391315 w 782630"/>
                  <a:gd name="connsiteY4" fmla="*/ 73061 h 782630"/>
                  <a:gd name="connsiteX5" fmla="*/ 391315 w 782630"/>
                  <a:gd name="connsiteY5" fmla="*/ 0 h 782630"/>
                  <a:gd name="connsiteX6" fmla="*/ 0 w 782630"/>
                  <a:gd name="connsiteY6" fmla="*/ 391315 h 782630"/>
                  <a:gd name="connsiteX7" fmla="*/ 391315 w 782630"/>
                  <a:gd name="connsiteY7" fmla="*/ 782630 h 782630"/>
                  <a:gd name="connsiteX8" fmla="*/ 782630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73061"/>
                    </a:moveTo>
                    <a:cubicBezTo>
                      <a:pt x="566816" y="73061"/>
                      <a:pt x="709569" y="215814"/>
                      <a:pt x="709569" y="391315"/>
                    </a:cubicBezTo>
                    <a:cubicBezTo>
                      <a:pt x="709569" y="566816"/>
                      <a:pt x="566816" y="709569"/>
                      <a:pt x="391315" y="709569"/>
                    </a:cubicBezTo>
                    <a:cubicBezTo>
                      <a:pt x="215815" y="709569"/>
                      <a:pt x="73061" y="566816"/>
                      <a:pt x="73061" y="391315"/>
                    </a:cubicBezTo>
                    <a:cubicBezTo>
                      <a:pt x="73061" y="215814"/>
                      <a:pt x="215815" y="73061"/>
                      <a:pt x="391315" y="73061"/>
                    </a:cubicBezTo>
                    <a:moveTo>
                      <a:pt x="391315" y="0"/>
                    </a:moveTo>
                    <a:cubicBezTo>
                      <a:pt x="175205" y="0"/>
                      <a:pt x="0" y="175205"/>
                      <a:pt x="0" y="391315"/>
                    </a:cubicBezTo>
                    <a:cubicBezTo>
                      <a:pt x="0" y="607425"/>
                      <a:pt x="175205" y="782630"/>
                      <a:pt x="391315" y="782630"/>
                    </a:cubicBezTo>
                    <a:cubicBezTo>
                      <a:pt x="607426" y="782630"/>
                      <a:pt x="782630" y="607425"/>
                      <a:pt x="782630" y="391315"/>
                    </a:cubicBezTo>
                    <a:cubicBezTo>
                      <a:pt x="782630" y="175205"/>
                      <a:pt x="607426" y="0"/>
                      <a:pt x="391315" y="0"/>
                    </a:cubicBezTo>
                    <a:lnTo>
                      <a:pt x="391315" y="0"/>
                    </a:lnTo>
                    <a:close/>
                  </a:path>
                </a:pathLst>
              </a:custGeom>
              <a:grpFill/>
              <a:ln w="5908" cap="flat">
                <a:noFill/>
                <a:prstDash val="solid"/>
                <a:miter/>
              </a:ln>
            </p:spPr>
            <p:txBody>
              <a:bodyPr rtlCol="0" anchor="ctr"/>
              <a:lstStyle/>
              <a:p>
                <a:endParaRPr lang="en-US"/>
              </a:p>
            </p:txBody>
          </p:sp>
          <p:sp>
            <p:nvSpPr>
              <p:cNvPr id="16" name="Freeform: Shape 22">
                <a:extLst>
                  <a:ext uri="{FF2B5EF4-FFF2-40B4-BE49-F238E27FC236}">
                    <a16:creationId xmlns:a16="http://schemas.microsoft.com/office/drawing/2014/main" id="{9454743A-082E-4812-54CC-1479EA4F1C0B}"/>
                  </a:ext>
                </a:extLst>
              </p:cNvPr>
              <p:cNvSpPr/>
              <p:nvPr/>
            </p:nvSpPr>
            <p:spPr>
              <a:xfrm>
                <a:off x="6695031" y="3038867"/>
                <a:ext cx="782630" cy="782630"/>
              </a:xfrm>
              <a:custGeom>
                <a:avLst/>
                <a:gdLst>
                  <a:gd name="connsiteX0" fmla="*/ 782158 w 782630"/>
                  <a:gd name="connsiteY0" fmla="*/ 373818 h 782630"/>
                  <a:gd name="connsiteX1" fmla="*/ 782631 w 782630"/>
                  <a:gd name="connsiteY1" fmla="*/ 391315 h 782630"/>
                  <a:gd name="connsiteX2" fmla="*/ 779734 w 782630"/>
                  <a:gd name="connsiteY2" fmla="*/ 438131 h 782630"/>
                  <a:gd name="connsiteX3" fmla="*/ 391315 w 782630"/>
                  <a:gd name="connsiteY3" fmla="*/ 782630 h 782630"/>
                  <a:gd name="connsiteX4" fmla="*/ 0 w 782630"/>
                  <a:gd name="connsiteY4" fmla="*/ 391315 h 782630"/>
                  <a:gd name="connsiteX5" fmla="*/ 391315 w 782630"/>
                  <a:gd name="connsiteY5" fmla="*/ 0 h 782630"/>
                  <a:gd name="connsiteX6" fmla="*/ 755499 w 782630"/>
                  <a:gd name="connsiteY6" fmla="*/ 248148 h 782630"/>
                  <a:gd name="connsiteX7" fmla="*/ 675403 w 782630"/>
                  <a:gd name="connsiteY7" fmla="*/ 248148 h 782630"/>
                  <a:gd name="connsiteX8" fmla="*/ 391315 w 782630"/>
                  <a:gd name="connsiteY8" fmla="*/ 73120 h 782630"/>
                  <a:gd name="connsiteX9" fmla="*/ 73061 w 782630"/>
                  <a:gd name="connsiteY9" fmla="*/ 391374 h 782630"/>
                  <a:gd name="connsiteX10" fmla="*/ 391315 w 782630"/>
                  <a:gd name="connsiteY10" fmla="*/ 709628 h 782630"/>
                  <a:gd name="connsiteX11" fmla="*/ 706082 w 782630"/>
                  <a:gd name="connsiteY11" fmla="*/ 438249 h 782630"/>
                  <a:gd name="connsiteX12" fmla="*/ 391315 w 782630"/>
                  <a:gd name="connsiteY12" fmla="*/ 438249 h 782630"/>
                  <a:gd name="connsiteX13" fmla="*/ 391315 w 782630"/>
                  <a:gd name="connsiteY13" fmla="*/ 373937 h 782630"/>
                  <a:gd name="connsiteX14" fmla="*/ 782158 w 782630"/>
                  <a:gd name="connsiteY14" fmla="*/ 373937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630" h="782630">
                    <a:moveTo>
                      <a:pt x="782158" y="373818"/>
                    </a:moveTo>
                    <a:cubicBezTo>
                      <a:pt x="782394" y="379611"/>
                      <a:pt x="782631" y="385463"/>
                      <a:pt x="782631" y="391315"/>
                    </a:cubicBezTo>
                    <a:cubicBezTo>
                      <a:pt x="782631" y="407157"/>
                      <a:pt x="781567" y="422762"/>
                      <a:pt x="779734" y="438131"/>
                    </a:cubicBezTo>
                    <a:cubicBezTo>
                      <a:pt x="756563" y="632134"/>
                      <a:pt x="591584" y="782630"/>
                      <a:pt x="391315" y="782630"/>
                    </a:cubicBezTo>
                    <a:cubicBezTo>
                      <a:pt x="175205" y="782630"/>
                      <a:pt x="0" y="607425"/>
                      <a:pt x="0" y="391315"/>
                    </a:cubicBezTo>
                    <a:cubicBezTo>
                      <a:pt x="0" y="175205"/>
                      <a:pt x="175205" y="0"/>
                      <a:pt x="391315" y="0"/>
                    </a:cubicBezTo>
                    <a:cubicBezTo>
                      <a:pt x="556885" y="0"/>
                      <a:pt x="698279" y="102853"/>
                      <a:pt x="755499" y="248148"/>
                    </a:cubicBezTo>
                    <a:lnTo>
                      <a:pt x="675403" y="248148"/>
                    </a:lnTo>
                    <a:cubicBezTo>
                      <a:pt x="622912" y="144408"/>
                      <a:pt x="515330" y="73120"/>
                      <a:pt x="391315" y="73120"/>
                    </a:cubicBezTo>
                    <a:cubicBezTo>
                      <a:pt x="215814" y="73120"/>
                      <a:pt x="73061" y="215874"/>
                      <a:pt x="73061" y="391374"/>
                    </a:cubicBezTo>
                    <a:cubicBezTo>
                      <a:pt x="73061" y="566875"/>
                      <a:pt x="215814" y="709628"/>
                      <a:pt x="391315" y="709628"/>
                    </a:cubicBezTo>
                    <a:cubicBezTo>
                      <a:pt x="550856" y="709628"/>
                      <a:pt x="683383" y="591584"/>
                      <a:pt x="706082" y="438249"/>
                    </a:cubicBezTo>
                    <a:lnTo>
                      <a:pt x="391315" y="438249"/>
                    </a:lnTo>
                    <a:lnTo>
                      <a:pt x="391315" y="373937"/>
                    </a:lnTo>
                    <a:lnTo>
                      <a:pt x="782158" y="373937"/>
                    </a:lnTo>
                    <a:close/>
                  </a:path>
                </a:pathLst>
              </a:custGeom>
              <a:grpFill/>
              <a:ln w="5908" cap="flat">
                <a:noFill/>
                <a:prstDash val="solid"/>
                <a:miter/>
              </a:ln>
            </p:spPr>
            <p:txBody>
              <a:bodyPr rtlCol="0" anchor="ctr"/>
              <a:lstStyle/>
              <a:p>
                <a:endParaRPr lang="en-US"/>
              </a:p>
            </p:txBody>
          </p:sp>
          <p:sp>
            <p:nvSpPr>
              <p:cNvPr id="17" name="Freeform: Shape 23">
                <a:extLst>
                  <a:ext uri="{FF2B5EF4-FFF2-40B4-BE49-F238E27FC236}">
                    <a16:creationId xmlns:a16="http://schemas.microsoft.com/office/drawing/2014/main" id="{97CC407C-BE6A-08F3-48B9-5999AFF5B118}"/>
                  </a:ext>
                </a:extLst>
              </p:cNvPr>
              <p:cNvSpPr/>
              <p:nvPr/>
            </p:nvSpPr>
            <p:spPr>
              <a:xfrm>
                <a:off x="7605165" y="3047615"/>
                <a:ext cx="568471" cy="765133"/>
              </a:xfrm>
              <a:custGeom>
                <a:avLst/>
                <a:gdLst>
                  <a:gd name="connsiteX0" fmla="*/ 568471 w 568471"/>
                  <a:gd name="connsiteY0" fmla="*/ 765134 h 765133"/>
                  <a:gd name="connsiteX1" fmla="*/ 348992 w 568471"/>
                  <a:gd name="connsiteY1" fmla="*/ 422644 h 765133"/>
                  <a:gd name="connsiteX2" fmla="*/ 523606 w 568471"/>
                  <a:gd name="connsiteY2" fmla="*/ 214218 h 765133"/>
                  <a:gd name="connsiteX3" fmla="*/ 288580 w 568471"/>
                  <a:gd name="connsiteY3" fmla="*/ 0 h 765133"/>
                  <a:gd name="connsiteX4" fmla="*/ 0 w 568471"/>
                  <a:gd name="connsiteY4" fmla="*/ 0 h 765133"/>
                  <a:gd name="connsiteX5" fmla="*/ 0 w 568471"/>
                  <a:gd name="connsiteY5" fmla="*/ 765134 h 765133"/>
                  <a:gd name="connsiteX6" fmla="*/ 73239 w 568471"/>
                  <a:gd name="connsiteY6" fmla="*/ 765134 h 765133"/>
                  <a:gd name="connsiteX7" fmla="*/ 73239 w 568471"/>
                  <a:gd name="connsiteY7" fmla="*/ 428496 h 765133"/>
                  <a:gd name="connsiteX8" fmla="*/ 270552 w 568471"/>
                  <a:gd name="connsiteY8" fmla="*/ 428496 h 765133"/>
                  <a:gd name="connsiteX9" fmla="*/ 480987 w 568471"/>
                  <a:gd name="connsiteY9" fmla="*/ 765134 h 765133"/>
                  <a:gd name="connsiteX10" fmla="*/ 568412 w 568471"/>
                  <a:gd name="connsiteY10" fmla="*/ 765134 h 765133"/>
                  <a:gd name="connsiteX11" fmla="*/ 73298 w 568471"/>
                  <a:gd name="connsiteY11" fmla="*/ 64490 h 765133"/>
                  <a:gd name="connsiteX12" fmla="*/ 283142 w 568471"/>
                  <a:gd name="connsiteY12" fmla="*/ 64490 h 765133"/>
                  <a:gd name="connsiteX13" fmla="*/ 450367 w 568471"/>
                  <a:gd name="connsiteY13" fmla="*/ 214218 h 765133"/>
                  <a:gd name="connsiteX14" fmla="*/ 283142 w 568471"/>
                  <a:gd name="connsiteY14" fmla="*/ 365070 h 765133"/>
                  <a:gd name="connsiteX15" fmla="*/ 73298 w 568471"/>
                  <a:gd name="connsiteY15" fmla="*/ 365070 h 765133"/>
                  <a:gd name="connsiteX16" fmla="*/ 73298 w 568471"/>
                  <a:gd name="connsiteY16" fmla="*/ 6449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471" h="765133">
                    <a:moveTo>
                      <a:pt x="568471" y="765134"/>
                    </a:moveTo>
                    <a:lnTo>
                      <a:pt x="348992" y="422644"/>
                    </a:lnTo>
                    <a:cubicBezTo>
                      <a:pt x="456397" y="401660"/>
                      <a:pt x="523606" y="323870"/>
                      <a:pt x="523606" y="214218"/>
                    </a:cubicBezTo>
                    <a:cubicBezTo>
                      <a:pt x="523606" y="85238"/>
                      <a:pt x="430684" y="0"/>
                      <a:pt x="288580" y="0"/>
                    </a:cubicBezTo>
                    <a:lnTo>
                      <a:pt x="0" y="0"/>
                    </a:lnTo>
                    <a:lnTo>
                      <a:pt x="0" y="765134"/>
                    </a:lnTo>
                    <a:lnTo>
                      <a:pt x="73239" y="765134"/>
                    </a:lnTo>
                    <a:lnTo>
                      <a:pt x="73239" y="428496"/>
                    </a:lnTo>
                    <a:lnTo>
                      <a:pt x="270552" y="428496"/>
                    </a:lnTo>
                    <a:lnTo>
                      <a:pt x="480987" y="765134"/>
                    </a:lnTo>
                    <a:lnTo>
                      <a:pt x="568412" y="765134"/>
                    </a:lnTo>
                    <a:close/>
                    <a:moveTo>
                      <a:pt x="73298" y="64490"/>
                    </a:moveTo>
                    <a:lnTo>
                      <a:pt x="283142" y="64490"/>
                    </a:lnTo>
                    <a:cubicBezTo>
                      <a:pt x="384813" y="64490"/>
                      <a:pt x="450367" y="124606"/>
                      <a:pt x="450367" y="214218"/>
                    </a:cubicBezTo>
                    <a:cubicBezTo>
                      <a:pt x="450367" y="303831"/>
                      <a:pt x="384754" y="365070"/>
                      <a:pt x="283142" y="365070"/>
                    </a:cubicBezTo>
                    <a:lnTo>
                      <a:pt x="73298" y="365070"/>
                    </a:lnTo>
                    <a:lnTo>
                      <a:pt x="73298" y="64490"/>
                    </a:lnTo>
                    <a:close/>
                  </a:path>
                </a:pathLst>
              </a:custGeom>
              <a:grpFill/>
              <a:ln w="5908"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030119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796ADA9A-2FF8-FE6A-244B-2E87CE9999B9}"/>
              </a:ext>
            </a:extLst>
          </p:cNvPr>
          <p:cNvSpPr>
            <a:spLocks noGrp="1"/>
          </p:cNvSpPr>
          <p:nvPr>
            <p:ph type="body" sz="quarter" idx="16" hasCustomPrompt="1"/>
          </p:nvPr>
        </p:nvSpPr>
        <p:spPr>
          <a:xfrm>
            <a:off x="5633372"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4ED4BAC4-8B0B-34FA-47DC-4FCB64B1AC19}"/>
              </a:ext>
            </a:extLst>
          </p:cNvPr>
          <p:cNvPicPr>
            <a:picLocks noChangeAspect="1"/>
          </p:cNvPicPr>
          <p:nvPr userDrawn="1"/>
        </p:nvPicPr>
        <p:blipFill>
          <a:blip r:embed="rId2">
            <a:alphaModFix amt="30000"/>
          </a:blip>
          <a:stretch>
            <a:fillRect/>
          </a:stretch>
        </p:blipFill>
        <p:spPr>
          <a:xfrm>
            <a:off x="9937733" y="4582044"/>
            <a:ext cx="2588580" cy="2155045"/>
          </a:xfrm>
          <a:prstGeom prst="rect">
            <a:avLst/>
          </a:prstGeom>
        </p:spPr>
      </p:pic>
      <p:pic>
        <p:nvPicPr>
          <p:cNvPr id="10" name="Bilde 9">
            <a:extLst>
              <a:ext uri="{FF2B5EF4-FFF2-40B4-BE49-F238E27FC236}">
                <a16:creationId xmlns:a16="http://schemas.microsoft.com/office/drawing/2014/main" id="{DD9673FB-0080-E441-4A17-74EC621E6619}"/>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8C9EBF74-5D29-2670-F710-594D16B9D4BA}"/>
              </a:ext>
            </a:extLst>
          </p:cNvPr>
          <p:cNvSpPr txBox="1"/>
          <p:nvPr userDrawn="1"/>
        </p:nvSpPr>
        <p:spPr>
          <a:xfrm>
            <a:off x="5633372"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3633503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BA7EB6EF-1ECB-8DE1-8D91-CE8A4BE00955}"/>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08DB82E0-CC57-0025-17B3-617EC8E1B4A3}"/>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66405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ontel marked data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7" name="Graphic 3">
            <a:extLst>
              <a:ext uri="{FF2B5EF4-FFF2-40B4-BE49-F238E27FC236}">
                <a16:creationId xmlns:a16="http://schemas.microsoft.com/office/drawing/2014/main" id="{AA9AD0D1-BAD8-E320-B37B-3009169F01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67857" y="2279375"/>
            <a:ext cx="5485133" cy="1222106"/>
          </a:xfrm>
          <a:prstGeom prst="rect">
            <a:avLst/>
          </a:prstGeom>
        </p:spPr>
      </p:pic>
    </p:spTree>
    <p:extLst>
      <p:ext uri="{BB962C8B-B14F-4D97-AF65-F5344CB8AC3E}">
        <p14:creationId xmlns:p14="http://schemas.microsoft.com/office/powerpoint/2010/main" val="30772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CD47D778-E563-13D4-811F-7F58DF54F784}"/>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8231A7B3-091C-24F1-02A2-FD1A3D3314EF}"/>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664B3E46-4991-1BB1-3558-D4C10DC9BCD0}"/>
              </a:ext>
            </a:extLst>
          </p:cNvPr>
          <p:cNvPicPr>
            <a:picLocks noChangeAspect="1"/>
          </p:cNvPicPr>
          <p:nvPr userDrawn="1"/>
        </p:nvPicPr>
        <p:blipFill>
          <a:blip r:embed="rId5">
            <a:alphaModFix amt="30000"/>
          </a:blip>
          <a:stretch>
            <a:fillRect/>
          </a:stretch>
        </p:blipFill>
        <p:spPr>
          <a:xfrm>
            <a:off x="10189816" y="4305300"/>
            <a:ext cx="2697100" cy="2815509"/>
          </a:xfrm>
          <a:prstGeom prst="rect">
            <a:avLst/>
          </a:prstGeom>
        </p:spPr>
      </p:pic>
      <p:sp>
        <p:nvSpPr>
          <p:cNvPr id="16" name="TekstSylinder 15">
            <a:extLst>
              <a:ext uri="{FF2B5EF4-FFF2-40B4-BE49-F238E27FC236}">
                <a16:creationId xmlns:a16="http://schemas.microsoft.com/office/drawing/2014/main" id="{22B72AEF-738A-E983-3AD6-E9BC9E2EEC40}"/>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2767614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7776614-F429-2BF7-3EEA-6C870D905FED}"/>
              </a:ext>
            </a:extLst>
          </p:cNvPr>
          <p:cNvSpPr>
            <a:spLocks noGrp="1"/>
          </p:cNvSpPr>
          <p:nvPr>
            <p:ph type="body" sz="quarter" idx="16" hasCustomPrompt="1"/>
          </p:nvPr>
        </p:nvSpPr>
        <p:spPr>
          <a:xfrm>
            <a:off x="959977" y="2072789"/>
            <a:ext cx="6097039"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82326A95-84CC-5DB2-F203-AB1F9304B6F7}"/>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3786370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48831855-A9EF-CA69-57C7-90653A5EDED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33C46A58-9F7D-E42F-2F78-65FDD400B228}"/>
              </a:ext>
            </a:extLst>
          </p:cNvPr>
          <p:cNvPicPr>
            <a:picLocks noChangeAspect="1"/>
          </p:cNvPicPr>
          <p:nvPr userDrawn="1"/>
        </p:nvPicPr>
        <p:blipFill>
          <a:blip r:embed="rId2"/>
          <a:stretch>
            <a:fillRect/>
          </a:stretch>
        </p:blipFill>
        <p:spPr>
          <a:xfrm>
            <a:off x="11538366" y="232679"/>
            <a:ext cx="426896" cy="426896"/>
          </a:xfrm>
          <a:prstGeom prst="rect">
            <a:avLst/>
          </a:prstGeom>
        </p:spPr>
      </p:pic>
      <p:pic>
        <p:nvPicPr>
          <p:cNvPr id="10" name="Bilde 9">
            <a:extLst>
              <a:ext uri="{FF2B5EF4-FFF2-40B4-BE49-F238E27FC236}">
                <a16:creationId xmlns:a16="http://schemas.microsoft.com/office/drawing/2014/main" id="{311C0F33-F62E-258A-33B6-10EFCB7886DA}"/>
              </a:ext>
            </a:extLst>
          </p:cNvPr>
          <p:cNvPicPr>
            <a:picLocks noChangeAspect="1"/>
          </p:cNvPicPr>
          <p:nvPr userDrawn="1"/>
        </p:nvPicPr>
        <p:blipFill>
          <a:blip r:embed="rId3">
            <a:alphaModFix amt="30000"/>
          </a:blip>
          <a:stretch>
            <a:fillRect/>
          </a:stretch>
        </p:blipFill>
        <p:spPr>
          <a:xfrm>
            <a:off x="10189816" y="4305300"/>
            <a:ext cx="2697100" cy="2815509"/>
          </a:xfrm>
          <a:prstGeom prst="rect">
            <a:avLst/>
          </a:prstGeom>
        </p:spPr>
      </p:pic>
      <p:sp>
        <p:nvSpPr>
          <p:cNvPr id="12" name="TekstSylinder 11">
            <a:extLst>
              <a:ext uri="{FF2B5EF4-FFF2-40B4-BE49-F238E27FC236}">
                <a16:creationId xmlns:a16="http://schemas.microsoft.com/office/drawing/2014/main" id="{8E3CF84B-7446-3338-7BD2-A98695447048}"/>
              </a:ext>
            </a:extLst>
          </p:cNvPr>
          <p:cNvSpPr txBox="1"/>
          <p:nvPr userDrawn="1"/>
        </p:nvSpPr>
        <p:spPr>
          <a:xfrm>
            <a:off x="56335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367496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E39D5A43-6EF4-A9BA-C46C-301E137EF93F}"/>
              </a:ext>
            </a:extLst>
          </p:cNvPr>
          <p:cNvSpPr>
            <a:spLocks noGrp="1"/>
          </p:cNvSpPr>
          <p:nvPr>
            <p:ph type="body" sz="quarter" idx="16" hasCustomPrompt="1"/>
          </p:nvPr>
        </p:nvSpPr>
        <p:spPr>
          <a:xfrm>
            <a:off x="981493"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DE803654-6E9B-B352-09FC-74971CB27ED9}"/>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1649158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ontel Publication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grpSp>
        <p:nvGrpSpPr>
          <p:cNvPr id="36" name="Gruppe 35">
            <a:extLst>
              <a:ext uri="{FF2B5EF4-FFF2-40B4-BE49-F238E27FC236}">
                <a16:creationId xmlns:a16="http://schemas.microsoft.com/office/drawing/2014/main" id="{41F29C41-9379-ED7C-52FD-B7B42639171C}"/>
              </a:ext>
            </a:extLst>
          </p:cNvPr>
          <p:cNvGrpSpPr/>
          <p:nvPr userDrawn="1"/>
        </p:nvGrpSpPr>
        <p:grpSpPr>
          <a:xfrm>
            <a:off x="1467857" y="2279375"/>
            <a:ext cx="5584950" cy="1224523"/>
            <a:chOff x="2103216" y="2545237"/>
            <a:chExt cx="7980638" cy="1749787"/>
          </a:xfrm>
        </p:grpSpPr>
        <p:grpSp>
          <p:nvGrpSpPr>
            <p:cNvPr id="37" name="Graphic 2">
              <a:extLst>
                <a:ext uri="{FF2B5EF4-FFF2-40B4-BE49-F238E27FC236}">
                  <a16:creationId xmlns:a16="http://schemas.microsoft.com/office/drawing/2014/main" id="{76F90A70-D1D4-C309-EB37-E7DC04821AE3}"/>
                </a:ext>
              </a:extLst>
            </p:cNvPr>
            <p:cNvGrpSpPr/>
            <p:nvPr/>
          </p:nvGrpSpPr>
          <p:grpSpPr>
            <a:xfrm>
              <a:off x="2103216" y="2545237"/>
              <a:ext cx="1749788" cy="1749787"/>
              <a:chOff x="2105024" y="2554434"/>
              <a:chExt cx="1749788" cy="1749787"/>
            </a:xfrm>
            <a:solidFill>
              <a:srgbClr val="022E33"/>
            </a:solidFill>
          </p:grpSpPr>
          <p:sp>
            <p:nvSpPr>
              <p:cNvPr id="58" name="Freeform: Shape 7">
                <a:extLst>
                  <a:ext uri="{FF2B5EF4-FFF2-40B4-BE49-F238E27FC236}">
                    <a16:creationId xmlns:a16="http://schemas.microsoft.com/office/drawing/2014/main" id="{1C87958E-1BD6-A1F8-2C0F-A848E5E2922E}"/>
                  </a:ext>
                </a:extLst>
              </p:cNvPr>
              <p:cNvSpPr/>
              <p:nvPr/>
            </p:nvSpPr>
            <p:spPr>
              <a:xfrm>
                <a:off x="2733032" y="3078352"/>
                <a:ext cx="493689" cy="591173"/>
              </a:xfrm>
              <a:custGeom>
                <a:avLst/>
                <a:gdLst>
                  <a:gd name="connsiteX0" fmla="*/ 386734 w 493689"/>
                  <a:gd name="connsiteY0" fmla="*/ 42538 h 591173"/>
                  <a:gd name="connsiteX1" fmla="*/ 251977 w 493689"/>
                  <a:gd name="connsiteY1" fmla="*/ 0 h 591173"/>
                  <a:gd name="connsiteX2" fmla="*/ 241794 w 493689"/>
                  <a:gd name="connsiteY2" fmla="*/ 0 h 591173"/>
                  <a:gd name="connsiteX3" fmla="*/ 107037 w 493689"/>
                  <a:gd name="connsiteY3" fmla="*/ 42538 h 591173"/>
                  <a:gd name="connsiteX4" fmla="*/ 22455 w 493689"/>
                  <a:gd name="connsiteY4" fmla="*/ 145022 h 591173"/>
                  <a:gd name="connsiteX5" fmla="*/ 1761 w 493689"/>
                  <a:gd name="connsiteY5" fmla="*/ 278136 h 591173"/>
                  <a:gd name="connsiteX6" fmla="*/ 60147 w 493689"/>
                  <a:gd name="connsiteY6" fmla="*/ 409034 h 591173"/>
                  <a:gd name="connsiteX7" fmla="*/ 163946 w 493689"/>
                  <a:gd name="connsiteY7" fmla="*/ 530159 h 591173"/>
                  <a:gd name="connsiteX8" fmla="*/ 172814 w 493689"/>
                  <a:gd name="connsiteY8" fmla="*/ 554056 h 591173"/>
                  <a:gd name="connsiteX9" fmla="*/ 172814 w 493689"/>
                  <a:gd name="connsiteY9" fmla="*/ 591173 h 591173"/>
                  <a:gd name="connsiteX10" fmla="*/ 320875 w 493689"/>
                  <a:gd name="connsiteY10" fmla="*/ 591173 h 591173"/>
                  <a:gd name="connsiteX11" fmla="*/ 320875 w 493689"/>
                  <a:gd name="connsiteY11" fmla="*/ 554056 h 591173"/>
                  <a:gd name="connsiteX12" fmla="*/ 329744 w 493689"/>
                  <a:gd name="connsiteY12" fmla="*/ 530159 h 591173"/>
                  <a:gd name="connsiteX13" fmla="*/ 433542 w 493689"/>
                  <a:gd name="connsiteY13" fmla="*/ 409034 h 591173"/>
                  <a:gd name="connsiteX14" fmla="*/ 491928 w 493689"/>
                  <a:gd name="connsiteY14" fmla="*/ 278136 h 591173"/>
                  <a:gd name="connsiteX15" fmla="*/ 471234 w 493689"/>
                  <a:gd name="connsiteY15" fmla="*/ 145022 h 591173"/>
                  <a:gd name="connsiteX16" fmla="*/ 386652 w 493689"/>
                  <a:gd name="connsiteY16" fmla="*/ 42538 h 591173"/>
                  <a:gd name="connsiteX17" fmla="*/ 246886 w 493689"/>
                  <a:gd name="connsiteY17" fmla="*/ 147732 h 591173"/>
                  <a:gd name="connsiteX18" fmla="*/ 135943 w 493689"/>
                  <a:gd name="connsiteY18" fmla="*/ 258674 h 591173"/>
                  <a:gd name="connsiteX19" fmla="*/ 99154 w 493689"/>
                  <a:gd name="connsiteY19" fmla="*/ 295464 h 591173"/>
                  <a:gd name="connsiteX20" fmla="*/ 62365 w 493689"/>
                  <a:gd name="connsiteY20" fmla="*/ 258674 h 591173"/>
                  <a:gd name="connsiteX21" fmla="*/ 246804 w 493689"/>
                  <a:gd name="connsiteY21" fmla="*/ 74235 h 591173"/>
                  <a:gd name="connsiteX22" fmla="*/ 283593 w 493689"/>
                  <a:gd name="connsiteY22" fmla="*/ 111025 h 591173"/>
                  <a:gd name="connsiteX23" fmla="*/ 246804 w 493689"/>
                  <a:gd name="connsiteY23" fmla="*/ 147814 h 5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3689" h="591173">
                    <a:moveTo>
                      <a:pt x="386734" y="42538"/>
                    </a:moveTo>
                    <a:cubicBezTo>
                      <a:pt x="347810" y="15520"/>
                      <a:pt x="301248" y="903"/>
                      <a:pt x="251977" y="0"/>
                    </a:cubicBezTo>
                    <a:cubicBezTo>
                      <a:pt x="248610" y="0"/>
                      <a:pt x="245161" y="0"/>
                      <a:pt x="241794" y="0"/>
                    </a:cubicBezTo>
                    <a:cubicBezTo>
                      <a:pt x="192523" y="821"/>
                      <a:pt x="145962" y="15520"/>
                      <a:pt x="107037" y="42538"/>
                    </a:cubicBezTo>
                    <a:cubicBezTo>
                      <a:pt x="70494" y="67912"/>
                      <a:pt x="41260" y="103305"/>
                      <a:pt x="22455" y="145022"/>
                    </a:cubicBezTo>
                    <a:cubicBezTo>
                      <a:pt x="3485" y="187149"/>
                      <a:pt x="-3659" y="233217"/>
                      <a:pt x="1761" y="278136"/>
                    </a:cubicBezTo>
                    <a:cubicBezTo>
                      <a:pt x="7509" y="325930"/>
                      <a:pt x="27711" y="371177"/>
                      <a:pt x="60147" y="409034"/>
                    </a:cubicBezTo>
                    <a:lnTo>
                      <a:pt x="163946" y="530159"/>
                    </a:lnTo>
                    <a:cubicBezTo>
                      <a:pt x="169694" y="536811"/>
                      <a:pt x="172814" y="545269"/>
                      <a:pt x="172814" y="554056"/>
                    </a:cubicBezTo>
                    <a:lnTo>
                      <a:pt x="172814" y="591173"/>
                    </a:lnTo>
                    <a:lnTo>
                      <a:pt x="320875" y="591173"/>
                    </a:lnTo>
                    <a:lnTo>
                      <a:pt x="320875" y="554056"/>
                    </a:lnTo>
                    <a:cubicBezTo>
                      <a:pt x="320875" y="545269"/>
                      <a:pt x="323995" y="536811"/>
                      <a:pt x="329744" y="530159"/>
                    </a:cubicBezTo>
                    <a:lnTo>
                      <a:pt x="433542" y="409034"/>
                    </a:lnTo>
                    <a:cubicBezTo>
                      <a:pt x="465979" y="371177"/>
                      <a:pt x="486180" y="325930"/>
                      <a:pt x="491928" y="278136"/>
                    </a:cubicBezTo>
                    <a:cubicBezTo>
                      <a:pt x="497348" y="233217"/>
                      <a:pt x="490204" y="187149"/>
                      <a:pt x="471234" y="145022"/>
                    </a:cubicBezTo>
                    <a:cubicBezTo>
                      <a:pt x="452511" y="103305"/>
                      <a:pt x="423195" y="67830"/>
                      <a:pt x="386652" y="42538"/>
                    </a:cubicBezTo>
                    <a:close/>
                    <a:moveTo>
                      <a:pt x="246886" y="147732"/>
                    </a:moveTo>
                    <a:cubicBezTo>
                      <a:pt x="185707" y="147732"/>
                      <a:pt x="135943" y="197496"/>
                      <a:pt x="135943" y="258674"/>
                    </a:cubicBezTo>
                    <a:cubicBezTo>
                      <a:pt x="135943" y="278958"/>
                      <a:pt x="119519" y="295464"/>
                      <a:pt x="99154" y="295464"/>
                    </a:cubicBezTo>
                    <a:cubicBezTo>
                      <a:pt x="78788" y="295464"/>
                      <a:pt x="62365" y="279040"/>
                      <a:pt x="62365" y="258674"/>
                    </a:cubicBezTo>
                    <a:cubicBezTo>
                      <a:pt x="62365" y="156929"/>
                      <a:pt x="145140" y="74235"/>
                      <a:pt x="246804" y="74235"/>
                    </a:cubicBezTo>
                    <a:cubicBezTo>
                      <a:pt x="267087" y="74235"/>
                      <a:pt x="283593" y="90659"/>
                      <a:pt x="283593" y="111025"/>
                    </a:cubicBezTo>
                    <a:cubicBezTo>
                      <a:pt x="283593" y="131390"/>
                      <a:pt x="267169" y="147814"/>
                      <a:pt x="246804" y="147814"/>
                    </a:cubicBezTo>
                    <a:close/>
                  </a:path>
                </a:pathLst>
              </a:custGeom>
              <a:grpFill/>
              <a:ln w="8212"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CCB3FD97-6798-BE77-DE4D-73C7CA0A7D0F}"/>
                  </a:ext>
                </a:extLst>
              </p:cNvPr>
              <p:cNvSpPr/>
              <p:nvPr/>
            </p:nvSpPr>
            <p:spPr>
              <a:xfrm>
                <a:off x="2105024" y="2554434"/>
                <a:ext cx="1749788" cy="1749787"/>
              </a:xfrm>
              <a:custGeom>
                <a:avLst/>
                <a:gdLst>
                  <a:gd name="connsiteX0" fmla="*/ 874894 w 1749788"/>
                  <a:gd name="connsiteY0" fmla="*/ 0 h 1749787"/>
                  <a:gd name="connsiteX1" fmla="*/ 0 w 1749788"/>
                  <a:gd name="connsiteY1" fmla="*/ 874894 h 1749787"/>
                  <a:gd name="connsiteX2" fmla="*/ 874894 w 1749788"/>
                  <a:gd name="connsiteY2" fmla="*/ 1749788 h 1749787"/>
                  <a:gd name="connsiteX3" fmla="*/ 1749788 w 1749788"/>
                  <a:gd name="connsiteY3" fmla="*/ 874894 h 1749787"/>
                  <a:gd name="connsiteX4" fmla="*/ 874894 w 1749788"/>
                  <a:gd name="connsiteY4" fmla="*/ 0 h 1749787"/>
                  <a:gd name="connsiteX5" fmla="*/ 985672 w 1749788"/>
                  <a:gd name="connsiteY5" fmla="*/ 1299366 h 1749787"/>
                  <a:gd name="connsiteX6" fmla="*/ 764116 w 1749788"/>
                  <a:gd name="connsiteY6" fmla="*/ 1299366 h 1749787"/>
                  <a:gd name="connsiteX7" fmla="*/ 727327 w 1749788"/>
                  <a:gd name="connsiteY7" fmla="*/ 1262577 h 1749787"/>
                  <a:gd name="connsiteX8" fmla="*/ 764116 w 1749788"/>
                  <a:gd name="connsiteY8" fmla="*/ 1225788 h 1749787"/>
                  <a:gd name="connsiteX9" fmla="*/ 985672 w 1749788"/>
                  <a:gd name="connsiteY9" fmla="*/ 1225788 h 1749787"/>
                  <a:gd name="connsiteX10" fmla="*/ 1022462 w 1749788"/>
                  <a:gd name="connsiteY10" fmla="*/ 1262577 h 1749787"/>
                  <a:gd name="connsiteX11" fmla="*/ 985672 w 1749788"/>
                  <a:gd name="connsiteY11" fmla="*/ 1299366 h 1749787"/>
                  <a:gd name="connsiteX12" fmla="*/ 1192940 w 1749788"/>
                  <a:gd name="connsiteY12" fmla="*/ 810841 h 1749787"/>
                  <a:gd name="connsiteX13" fmla="*/ 1117391 w 1749788"/>
                  <a:gd name="connsiteY13" fmla="*/ 980745 h 1749787"/>
                  <a:gd name="connsiteX14" fmla="*/ 1022462 w 1749788"/>
                  <a:gd name="connsiteY14" fmla="*/ 1091523 h 1749787"/>
                  <a:gd name="connsiteX15" fmla="*/ 1022462 w 1749788"/>
                  <a:gd name="connsiteY15" fmla="*/ 1151799 h 1749787"/>
                  <a:gd name="connsiteX16" fmla="*/ 985672 w 1749788"/>
                  <a:gd name="connsiteY16" fmla="*/ 1188588 h 1749787"/>
                  <a:gd name="connsiteX17" fmla="*/ 764116 w 1749788"/>
                  <a:gd name="connsiteY17" fmla="*/ 1188588 h 1749787"/>
                  <a:gd name="connsiteX18" fmla="*/ 727327 w 1749788"/>
                  <a:gd name="connsiteY18" fmla="*/ 1151799 h 1749787"/>
                  <a:gd name="connsiteX19" fmla="*/ 727327 w 1749788"/>
                  <a:gd name="connsiteY19" fmla="*/ 1091523 h 1749787"/>
                  <a:gd name="connsiteX20" fmla="*/ 632397 w 1749788"/>
                  <a:gd name="connsiteY20" fmla="*/ 980745 h 1749787"/>
                  <a:gd name="connsiteX21" fmla="*/ 556848 w 1749788"/>
                  <a:gd name="connsiteY21" fmla="*/ 810841 h 1749787"/>
                  <a:gd name="connsiteX22" fmla="*/ 583454 w 1749788"/>
                  <a:gd name="connsiteY22" fmla="*/ 638720 h 1749787"/>
                  <a:gd name="connsiteX23" fmla="*/ 693165 w 1749788"/>
                  <a:gd name="connsiteY23" fmla="*/ 505934 h 1749787"/>
                  <a:gd name="connsiteX24" fmla="*/ 868571 w 1749788"/>
                  <a:gd name="connsiteY24" fmla="*/ 450340 h 1749787"/>
                  <a:gd name="connsiteX25" fmla="*/ 881217 w 1749788"/>
                  <a:gd name="connsiteY25" fmla="*/ 450340 h 1749787"/>
                  <a:gd name="connsiteX26" fmla="*/ 1056623 w 1749788"/>
                  <a:gd name="connsiteY26" fmla="*/ 505934 h 1749787"/>
                  <a:gd name="connsiteX27" fmla="*/ 1166334 w 1749788"/>
                  <a:gd name="connsiteY27" fmla="*/ 638720 h 1749787"/>
                  <a:gd name="connsiteX28" fmla="*/ 1192940 w 1749788"/>
                  <a:gd name="connsiteY28" fmla="*/ 810841 h 174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49788" h="1749787">
                    <a:moveTo>
                      <a:pt x="874894" y="0"/>
                    </a:moveTo>
                    <a:cubicBezTo>
                      <a:pt x="391707" y="0"/>
                      <a:pt x="0" y="391707"/>
                      <a:pt x="0" y="874894"/>
                    </a:cubicBezTo>
                    <a:cubicBezTo>
                      <a:pt x="0" y="1358081"/>
                      <a:pt x="391707" y="1749788"/>
                      <a:pt x="874894" y="1749788"/>
                    </a:cubicBezTo>
                    <a:cubicBezTo>
                      <a:pt x="1358081" y="1749788"/>
                      <a:pt x="1749788" y="1358081"/>
                      <a:pt x="1749788" y="874894"/>
                    </a:cubicBezTo>
                    <a:cubicBezTo>
                      <a:pt x="1749788" y="391707"/>
                      <a:pt x="1358081" y="0"/>
                      <a:pt x="874894" y="0"/>
                    </a:cubicBezTo>
                    <a:close/>
                    <a:moveTo>
                      <a:pt x="985672" y="1299366"/>
                    </a:moveTo>
                    <a:lnTo>
                      <a:pt x="764116" y="1299366"/>
                    </a:lnTo>
                    <a:cubicBezTo>
                      <a:pt x="743832" y="1299366"/>
                      <a:pt x="727327" y="1282942"/>
                      <a:pt x="727327" y="1262577"/>
                    </a:cubicBezTo>
                    <a:cubicBezTo>
                      <a:pt x="727327" y="1242212"/>
                      <a:pt x="743750" y="1225788"/>
                      <a:pt x="764116" y="1225788"/>
                    </a:cubicBezTo>
                    <a:lnTo>
                      <a:pt x="985672" y="1225788"/>
                    </a:lnTo>
                    <a:cubicBezTo>
                      <a:pt x="1005956" y="1225788"/>
                      <a:pt x="1022462" y="1242212"/>
                      <a:pt x="1022462" y="1262577"/>
                    </a:cubicBezTo>
                    <a:cubicBezTo>
                      <a:pt x="1022462" y="1282942"/>
                      <a:pt x="1006038" y="1299366"/>
                      <a:pt x="985672" y="1299366"/>
                    </a:cubicBezTo>
                    <a:close/>
                    <a:moveTo>
                      <a:pt x="1192940" y="810841"/>
                    </a:moveTo>
                    <a:cubicBezTo>
                      <a:pt x="1185386" y="873087"/>
                      <a:pt x="1159272" y="931802"/>
                      <a:pt x="1117391" y="980745"/>
                    </a:cubicBezTo>
                    <a:lnTo>
                      <a:pt x="1022462" y="1091523"/>
                    </a:lnTo>
                    <a:lnTo>
                      <a:pt x="1022462" y="1151799"/>
                    </a:lnTo>
                    <a:cubicBezTo>
                      <a:pt x="1022462" y="1172082"/>
                      <a:pt x="1006038" y="1188588"/>
                      <a:pt x="985672" y="1188588"/>
                    </a:cubicBezTo>
                    <a:lnTo>
                      <a:pt x="764116" y="1188588"/>
                    </a:lnTo>
                    <a:cubicBezTo>
                      <a:pt x="743832" y="1188588"/>
                      <a:pt x="727327" y="1172164"/>
                      <a:pt x="727327" y="1151799"/>
                    </a:cubicBezTo>
                    <a:lnTo>
                      <a:pt x="727327" y="1091523"/>
                    </a:lnTo>
                    <a:lnTo>
                      <a:pt x="632397" y="980745"/>
                    </a:lnTo>
                    <a:cubicBezTo>
                      <a:pt x="590434" y="931802"/>
                      <a:pt x="564321" y="873087"/>
                      <a:pt x="556848" y="810841"/>
                    </a:cubicBezTo>
                    <a:cubicBezTo>
                      <a:pt x="549786" y="752619"/>
                      <a:pt x="558983" y="693083"/>
                      <a:pt x="583454" y="638720"/>
                    </a:cubicBezTo>
                    <a:cubicBezTo>
                      <a:pt x="607679" y="584850"/>
                      <a:pt x="645618" y="538946"/>
                      <a:pt x="693165" y="505934"/>
                    </a:cubicBezTo>
                    <a:cubicBezTo>
                      <a:pt x="744079" y="470623"/>
                      <a:pt x="804683" y="451407"/>
                      <a:pt x="868571" y="450340"/>
                    </a:cubicBezTo>
                    <a:cubicBezTo>
                      <a:pt x="872841" y="450340"/>
                      <a:pt x="877029" y="450340"/>
                      <a:pt x="881217" y="450340"/>
                    </a:cubicBezTo>
                    <a:cubicBezTo>
                      <a:pt x="945106" y="451407"/>
                      <a:pt x="1005709" y="470623"/>
                      <a:pt x="1056623" y="505934"/>
                    </a:cubicBezTo>
                    <a:cubicBezTo>
                      <a:pt x="1104170" y="538864"/>
                      <a:pt x="1142109" y="584768"/>
                      <a:pt x="1166334" y="638720"/>
                    </a:cubicBezTo>
                    <a:cubicBezTo>
                      <a:pt x="1190805" y="693083"/>
                      <a:pt x="1200003" y="752619"/>
                      <a:pt x="1192940" y="810841"/>
                    </a:cubicBezTo>
                    <a:close/>
                  </a:path>
                </a:pathLst>
              </a:custGeom>
              <a:grpFill/>
              <a:ln w="8212" cap="flat">
                <a:noFill/>
                <a:prstDash val="solid"/>
                <a:miter/>
              </a:ln>
            </p:spPr>
            <p:txBody>
              <a:bodyPr rtlCol="0" anchor="ctr"/>
              <a:lstStyle/>
              <a:p>
                <a:endParaRPr lang="en-US"/>
              </a:p>
            </p:txBody>
          </p:sp>
        </p:grpSp>
        <p:grpSp>
          <p:nvGrpSpPr>
            <p:cNvPr id="38" name="Graphic 2">
              <a:extLst>
                <a:ext uri="{FF2B5EF4-FFF2-40B4-BE49-F238E27FC236}">
                  <a16:creationId xmlns:a16="http://schemas.microsoft.com/office/drawing/2014/main" id="{C55D9707-8580-E943-B366-D4506D54DAAA}"/>
                </a:ext>
              </a:extLst>
            </p:cNvPr>
            <p:cNvGrpSpPr/>
            <p:nvPr/>
          </p:nvGrpSpPr>
          <p:grpSpPr>
            <a:xfrm>
              <a:off x="4372407" y="2781081"/>
              <a:ext cx="1746092" cy="299076"/>
              <a:chOff x="4372407" y="2781081"/>
              <a:chExt cx="1746092" cy="299076"/>
            </a:xfrm>
            <a:solidFill>
              <a:srgbClr val="022E33"/>
            </a:solidFill>
          </p:grpSpPr>
          <p:sp>
            <p:nvSpPr>
              <p:cNvPr id="52" name="Freeform: Shape 10">
                <a:extLst>
                  <a:ext uri="{FF2B5EF4-FFF2-40B4-BE49-F238E27FC236}">
                    <a16:creationId xmlns:a16="http://schemas.microsoft.com/office/drawing/2014/main" id="{2E6ADC8B-9B59-91E2-D771-264799F2761B}"/>
                  </a:ext>
                </a:extLst>
              </p:cNvPr>
              <p:cNvSpPr/>
              <p:nvPr/>
            </p:nvSpPr>
            <p:spPr>
              <a:xfrm>
                <a:off x="5400452" y="2784366"/>
                <a:ext cx="232642" cy="292343"/>
              </a:xfrm>
              <a:custGeom>
                <a:avLst/>
                <a:gdLst>
                  <a:gd name="connsiteX0" fmla="*/ 88114 w 232642"/>
                  <a:gd name="connsiteY0" fmla="*/ 48450 h 292343"/>
                  <a:gd name="connsiteX1" fmla="*/ 0 w 232642"/>
                  <a:gd name="connsiteY1" fmla="*/ 48450 h 292343"/>
                  <a:gd name="connsiteX2" fmla="*/ 0 w 232642"/>
                  <a:gd name="connsiteY2" fmla="*/ 0 h 292343"/>
                  <a:gd name="connsiteX3" fmla="*/ 232643 w 232642"/>
                  <a:gd name="connsiteY3" fmla="*/ 0 h 292343"/>
                  <a:gd name="connsiteX4" fmla="*/ 232643 w 232642"/>
                  <a:gd name="connsiteY4" fmla="*/ 48450 h 292343"/>
                  <a:gd name="connsiteX5" fmla="*/ 144940 w 232642"/>
                  <a:gd name="connsiteY5" fmla="*/ 48450 h 292343"/>
                  <a:gd name="connsiteX6" fmla="*/ 144940 w 232642"/>
                  <a:gd name="connsiteY6" fmla="*/ 292343 h 292343"/>
                  <a:gd name="connsiteX7" fmla="*/ 88114 w 232642"/>
                  <a:gd name="connsiteY7" fmla="*/ 292343 h 292343"/>
                  <a:gd name="connsiteX8" fmla="*/ 88114 w 232642"/>
                  <a:gd name="connsiteY8" fmla="*/ 48450 h 29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2" h="292343">
                    <a:moveTo>
                      <a:pt x="88114" y="48450"/>
                    </a:moveTo>
                    <a:lnTo>
                      <a:pt x="0" y="48450"/>
                    </a:lnTo>
                    <a:lnTo>
                      <a:pt x="0" y="0"/>
                    </a:lnTo>
                    <a:lnTo>
                      <a:pt x="232643" y="0"/>
                    </a:lnTo>
                    <a:lnTo>
                      <a:pt x="232643" y="48450"/>
                    </a:lnTo>
                    <a:lnTo>
                      <a:pt x="144940" y="48450"/>
                    </a:lnTo>
                    <a:lnTo>
                      <a:pt x="144940" y="292343"/>
                    </a:lnTo>
                    <a:lnTo>
                      <a:pt x="88114" y="292343"/>
                    </a:lnTo>
                    <a:lnTo>
                      <a:pt x="88114" y="48450"/>
                    </a:lnTo>
                    <a:close/>
                  </a:path>
                </a:pathLst>
              </a:custGeom>
              <a:solidFill>
                <a:srgbClr val="022E33"/>
              </a:solidFill>
              <a:ln w="8212" cap="flat">
                <a:noFill/>
                <a:prstDash val="solid"/>
                <a:miter/>
              </a:ln>
            </p:spPr>
            <p:txBody>
              <a:bodyPr rtlCol="0" anchor="ctr"/>
              <a:lstStyle/>
              <a:p>
                <a:endParaRPr lang="en-US"/>
              </a:p>
            </p:txBody>
          </p:sp>
          <p:sp>
            <p:nvSpPr>
              <p:cNvPr id="53" name="Freeform: Shape 11">
                <a:extLst>
                  <a:ext uri="{FF2B5EF4-FFF2-40B4-BE49-F238E27FC236}">
                    <a16:creationId xmlns:a16="http://schemas.microsoft.com/office/drawing/2014/main" id="{43342978-3FBF-E633-F9EF-7F880A0AA93A}"/>
                  </a:ext>
                </a:extLst>
              </p:cNvPr>
              <p:cNvSpPr/>
              <p:nvPr/>
            </p:nvSpPr>
            <p:spPr>
              <a:xfrm>
                <a:off x="5675058" y="2784284"/>
                <a:ext cx="200123" cy="292425"/>
              </a:xfrm>
              <a:custGeom>
                <a:avLst/>
                <a:gdLst>
                  <a:gd name="connsiteX0" fmla="*/ 77356 w 200123"/>
                  <a:gd name="connsiteY0" fmla="*/ 82 h 292425"/>
                  <a:gd name="connsiteX1" fmla="*/ 200124 w 200123"/>
                  <a:gd name="connsiteY1" fmla="*/ 82 h 292425"/>
                  <a:gd name="connsiteX2" fmla="*/ 200124 w 200123"/>
                  <a:gd name="connsiteY2" fmla="*/ 48532 h 292425"/>
                  <a:gd name="connsiteX3" fmla="*/ 82612 w 200123"/>
                  <a:gd name="connsiteY3" fmla="*/ 48532 h 292425"/>
                  <a:gd name="connsiteX4" fmla="*/ 56826 w 200123"/>
                  <a:gd name="connsiteY4" fmla="*/ 74318 h 292425"/>
                  <a:gd name="connsiteX5" fmla="*/ 56826 w 200123"/>
                  <a:gd name="connsiteY5" fmla="*/ 122029 h 292425"/>
                  <a:gd name="connsiteX6" fmla="*/ 200124 w 200123"/>
                  <a:gd name="connsiteY6" fmla="*/ 122029 h 292425"/>
                  <a:gd name="connsiteX7" fmla="*/ 200124 w 200123"/>
                  <a:gd name="connsiteY7" fmla="*/ 170479 h 292425"/>
                  <a:gd name="connsiteX8" fmla="*/ 56826 w 200123"/>
                  <a:gd name="connsiteY8" fmla="*/ 170479 h 292425"/>
                  <a:gd name="connsiteX9" fmla="*/ 56826 w 200123"/>
                  <a:gd name="connsiteY9" fmla="*/ 218190 h 292425"/>
                  <a:gd name="connsiteX10" fmla="*/ 82612 w 200123"/>
                  <a:gd name="connsiteY10" fmla="*/ 243975 h 292425"/>
                  <a:gd name="connsiteX11" fmla="*/ 200124 w 200123"/>
                  <a:gd name="connsiteY11" fmla="*/ 243975 h 292425"/>
                  <a:gd name="connsiteX12" fmla="*/ 200124 w 200123"/>
                  <a:gd name="connsiteY12" fmla="*/ 292425 h 292425"/>
                  <a:gd name="connsiteX13" fmla="*/ 77356 w 200123"/>
                  <a:gd name="connsiteY13" fmla="*/ 292425 h 292425"/>
                  <a:gd name="connsiteX14" fmla="*/ 0 w 200123"/>
                  <a:gd name="connsiteY14" fmla="*/ 215069 h 292425"/>
                  <a:gd name="connsiteX15" fmla="*/ 0 w 200123"/>
                  <a:gd name="connsiteY15" fmla="*/ 77356 h 292425"/>
                  <a:gd name="connsiteX16" fmla="*/ 77356 w 200123"/>
                  <a:gd name="connsiteY16"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123" h="292425">
                    <a:moveTo>
                      <a:pt x="77356" y="82"/>
                    </a:moveTo>
                    <a:lnTo>
                      <a:pt x="200124" y="82"/>
                    </a:lnTo>
                    <a:lnTo>
                      <a:pt x="200124" y="48532"/>
                    </a:lnTo>
                    <a:lnTo>
                      <a:pt x="82612" y="48532"/>
                    </a:lnTo>
                    <a:cubicBezTo>
                      <a:pt x="68405" y="48532"/>
                      <a:pt x="56826" y="60111"/>
                      <a:pt x="56826" y="74318"/>
                    </a:cubicBezTo>
                    <a:lnTo>
                      <a:pt x="56826" y="122029"/>
                    </a:lnTo>
                    <a:lnTo>
                      <a:pt x="200124" y="122029"/>
                    </a:lnTo>
                    <a:lnTo>
                      <a:pt x="200124" y="170479"/>
                    </a:lnTo>
                    <a:lnTo>
                      <a:pt x="56826" y="170479"/>
                    </a:lnTo>
                    <a:lnTo>
                      <a:pt x="56826" y="218190"/>
                    </a:lnTo>
                    <a:cubicBezTo>
                      <a:pt x="56826" y="232396"/>
                      <a:pt x="68405" y="243975"/>
                      <a:pt x="82612" y="243975"/>
                    </a:cubicBezTo>
                    <a:lnTo>
                      <a:pt x="200124" y="243975"/>
                    </a:lnTo>
                    <a:lnTo>
                      <a:pt x="200124" y="292425"/>
                    </a:lnTo>
                    <a:lnTo>
                      <a:pt x="77356" y="292425"/>
                    </a:lnTo>
                    <a:cubicBezTo>
                      <a:pt x="34654" y="292425"/>
                      <a:pt x="0" y="257771"/>
                      <a:pt x="0" y="215069"/>
                    </a:cubicBezTo>
                    <a:lnTo>
                      <a:pt x="0" y="77356"/>
                    </a:lnTo>
                    <a:cubicBezTo>
                      <a:pt x="0" y="34654"/>
                      <a:pt x="34654" y="0"/>
                      <a:pt x="77356" y="0"/>
                    </a:cubicBezTo>
                    <a:close/>
                  </a:path>
                </a:pathLst>
              </a:custGeom>
              <a:solidFill>
                <a:srgbClr val="022E33"/>
              </a:solidFill>
              <a:ln w="8212" cap="flat">
                <a:noFill/>
                <a:prstDash val="solid"/>
                <a:miter/>
              </a:ln>
            </p:spPr>
            <p:txBody>
              <a:bodyPr rtlCol="0" anchor="ctr"/>
              <a:lstStyle/>
              <a:p>
                <a:endParaRPr lang="en-US"/>
              </a:p>
            </p:txBody>
          </p:sp>
          <p:sp>
            <p:nvSpPr>
              <p:cNvPr id="54" name="Freeform: Shape 12">
                <a:extLst>
                  <a:ext uri="{FF2B5EF4-FFF2-40B4-BE49-F238E27FC236}">
                    <a16:creationId xmlns:a16="http://schemas.microsoft.com/office/drawing/2014/main" id="{79262B31-F38D-5E60-294D-650EC648703B}"/>
                  </a:ext>
                </a:extLst>
              </p:cNvPr>
              <p:cNvSpPr/>
              <p:nvPr/>
            </p:nvSpPr>
            <p:spPr>
              <a:xfrm>
                <a:off x="5924206" y="2784366"/>
                <a:ext cx="194293" cy="292425"/>
              </a:xfrm>
              <a:custGeom>
                <a:avLst/>
                <a:gdLst>
                  <a:gd name="connsiteX0" fmla="*/ 0 w 194293"/>
                  <a:gd name="connsiteY0" fmla="*/ 0 h 292425"/>
                  <a:gd name="connsiteX1" fmla="*/ 56826 w 194293"/>
                  <a:gd name="connsiteY1" fmla="*/ 0 h 292425"/>
                  <a:gd name="connsiteX2" fmla="*/ 56826 w 194293"/>
                  <a:gd name="connsiteY2" fmla="*/ 218190 h 292425"/>
                  <a:gd name="connsiteX3" fmla="*/ 82612 w 194293"/>
                  <a:gd name="connsiteY3" fmla="*/ 243975 h 292425"/>
                  <a:gd name="connsiteX4" fmla="*/ 194293 w 194293"/>
                  <a:gd name="connsiteY4" fmla="*/ 243975 h 292425"/>
                  <a:gd name="connsiteX5" fmla="*/ 194293 w 194293"/>
                  <a:gd name="connsiteY5" fmla="*/ 292425 h 292425"/>
                  <a:gd name="connsiteX6" fmla="*/ 77438 w 194293"/>
                  <a:gd name="connsiteY6" fmla="*/ 292425 h 292425"/>
                  <a:gd name="connsiteX7" fmla="*/ 82 w 194293"/>
                  <a:gd name="connsiteY7" fmla="*/ 215069 h 292425"/>
                  <a:gd name="connsiteX8" fmla="*/ 82 w 194293"/>
                  <a:gd name="connsiteY8"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293" h="292425">
                    <a:moveTo>
                      <a:pt x="0" y="0"/>
                    </a:moveTo>
                    <a:lnTo>
                      <a:pt x="56826" y="0"/>
                    </a:lnTo>
                    <a:lnTo>
                      <a:pt x="56826" y="218190"/>
                    </a:lnTo>
                    <a:cubicBezTo>
                      <a:pt x="56826" y="232396"/>
                      <a:pt x="68405" y="243975"/>
                      <a:pt x="82612" y="243975"/>
                    </a:cubicBezTo>
                    <a:lnTo>
                      <a:pt x="194293" y="243975"/>
                    </a:lnTo>
                    <a:lnTo>
                      <a:pt x="194293" y="292425"/>
                    </a:lnTo>
                    <a:lnTo>
                      <a:pt x="77438" y="292425"/>
                    </a:lnTo>
                    <a:cubicBezTo>
                      <a:pt x="34736" y="292425"/>
                      <a:pt x="82" y="257771"/>
                      <a:pt x="82" y="215069"/>
                    </a:cubicBezTo>
                    <a:lnTo>
                      <a:pt x="82" y="0"/>
                    </a:lnTo>
                    <a:close/>
                  </a:path>
                </a:pathLst>
              </a:custGeom>
              <a:solidFill>
                <a:srgbClr val="022E33"/>
              </a:solidFill>
              <a:ln w="8212" cap="flat">
                <a:noFill/>
                <a:prstDash val="solid"/>
                <a:miter/>
              </a:ln>
            </p:spPr>
            <p:txBody>
              <a:bodyPr rtlCol="0" anchor="ctr"/>
              <a:lstStyle/>
              <a:p>
                <a:endParaRPr lang="en-US"/>
              </a:p>
            </p:txBody>
          </p:sp>
          <p:sp>
            <p:nvSpPr>
              <p:cNvPr id="55" name="Freeform: Shape 13">
                <a:extLst>
                  <a:ext uri="{FF2B5EF4-FFF2-40B4-BE49-F238E27FC236}">
                    <a16:creationId xmlns:a16="http://schemas.microsoft.com/office/drawing/2014/main" id="{3E5F2CDB-D2ED-2F5F-4B59-1C9FA498DC2C}"/>
                  </a:ext>
                </a:extLst>
              </p:cNvPr>
              <p:cNvSpPr/>
              <p:nvPr/>
            </p:nvSpPr>
            <p:spPr>
              <a:xfrm>
                <a:off x="5114433" y="2784366"/>
                <a:ext cx="244385" cy="292425"/>
              </a:xfrm>
              <a:custGeom>
                <a:avLst/>
                <a:gdLst>
                  <a:gd name="connsiteX0" fmla="*/ 244386 w 244385"/>
                  <a:gd name="connsiteY0" fmla="*/ 77356 h 292425"/>
                  <a:gd name="connsiteX1" fmla="*/ 244386 w 244385"/>
                  <a:gd name="connsiteY1" fmla="*/ 292425 h 292425"/>
                  <a:gd name="connsiteX2" fmla="*/ 187559 w 244385"/>
                  <a:gd name="connsiteY2" fmla="*/ 292425 h 292425"/>
                  <a:gd name="connsiteX3" fmla="*/ 187559 w 244385"/>
                  <a:gd name="connsiteY3" fmla="*/ 74235 h 292425"/>
                  <a:gd name="connsiteX4" fmla="*/ 161774 w 244385"/>
                  <a:gd name="connsiteY4" fmla="*/ 48450 h 292425"/>
                  <a:gd name="connsiteX5" fmla="*/ 56826 w 244385"/>
                  <a:gd name="connsiteY5" fmla="*/ 48450 h 292425"/>
                  <a:gd name="connsiteX6" fmla="*/ 56826 w 244385"/>
                  <a:gd name="connsiteY6" fmla="*/ 292343 h 292425"/>
                  <a:gd name="connsiteX7" fmla="*/ 0 w 244385"/>
                  <a:gd name="connsiteY7" fmla="*/ 292343 h 292425"/>
                  <a:gd name="connsiteX8" fmla="*/ 0 w 244385"/>
                  <a:gd name="connsiteY8" fmla="*/ 0 h 292425"/>
                  <a:gd name="connsiteX9" fmla="*/ 167030 w 244385"/>
                  <a:gd name="connsiteY9" fmla="*/ 0 h 292425"/>
                  <a:gd name="connsiteX10" fmla="*/ 244386 w 244385"/>
                  <a:gd name="connsiteY10" fmla="*/ 77356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385" h="292425">
                    <a:moveTo>
                      <a:pt x="244386" y="77356"/>
                    </a:moveTo>
                    <a:lnTo>
                      <a:pt x="244386" y="292425"/>
                    </a:lnTo>
                    <a:lnTo>
                      <a:pt x="187559" y="292425"/>
                    </a:lnTo>
                    <a:lnTo>
                      <a:pt x="187559" y="74235"/>
                    </a:lnTo>
                    <a:cubicBezTo>
                      <a:pt x="187559" y="60029"/>
                      <a:pt x="175981" y="48450"/>
                      <a:pt x="161774" y="48450"/>
                    </a:cubicBezTo>
                    <a:lnTo>
                      <a:pt x="56826" y="48450"/>
                    </a:lnTo>
                    <a:lnTo>
                      <a:pt x="56826" y="292343"/>
                    </a:lnTo>
                    <a:lnTo>
                      <a:pt x="0" y="292343"/>
                    </a:lnTo>
                    <a:lnTo>
                      <a:pt x="0" y="0"/>
                    </a:lnTo>
                    <a:lnTo>
                      <a:pt x="167030" y="0"/>
                    </a:lnTo>
                    <a:cubicBezTo>
                      <a:pt x="209732" y="0"/>
                      <a:pt x="244386" y="34654"/>
                      <a:pt x="244386" y="77356"/>
                    </a:cubicBezTo>
                    <a:close/>
                  </a:path>
                </a:pathLst>
              </a:custGeom>
              <a:solidFill>
                <a:srgbClr val="022E33"/>
              </a:solidFill>
              <a:ln w="8212" cap="flat">
                <a:noFill/>
                <a:prstDash val="solid"/>
                <a:miter/>
              </a:ln>
            </p:spPr>
            <p:txBody>
              <a:bodyPr rtlCol="0" anchor="ctr"/>
              <a:lstStyle/>
              <a:p>
                <a:endParaRPr lang="en-US"/>
              </a:p>
            </p:txBody>
          </p:sp>
          <p:sp>
            <p:nvSpPr>
              <p:cNvPr id="56" name="Freeform: Shape 14">
                <a:extLst>
                  <a:ext uri="{FF2B5EF4-FFF2-40B4-BE49-F238E27FC236}">
                    <a16:creationId xmlns:a16="http://schemas.microsoft.com/office/drawing/2014/main" id="{60FC30EF-B2F3-36B0-DA01-3F88FE916F79}"/>
                  </a:ext>
                </a:extLst>
              </p:cNvPr>
              <p:cNvSpPr/>
              <p:nvPr/>
            </p:nvSpPr>
            <p:spPr>
              <a:xfrm>
                <a:off x="4372407" y="2784366"/>
                <a:ext cx="354260" cy="292425"/>
              </a:xfrm>
              <a:custGeom>
                <a:avLst/>
                <a:gdLst>
                  <a:gd name="connsiteX0" fmla="*/ 276905 w 354260"/>
                  <a:gd name="connsiteY0" fmla="*/ 0 h 292425"/>
                  <a:gd name="connsiteX1" fmla="*/ 354261 w 354260"/>
                  <a:gd name="connsiteY1" fmla="*/ 77356 h 292425"/>
                  <a:gd name="connsiteX2" fmla="*/ 354261 w 354260"/>
                  <a:gd name="connsiteY2" fmla="*/ 292425 h 292425"/>
                  <a:gd name="connsiteX3" fmla="*/ 297434 w 354260"/>
                  <a:gd name="connsiteY3" fmla="*/ 292425 h 292425"/>
                  <a:gd name="connsiteX4" fmla="*/ 297434 w 354260"/>
                  <a:gd name="connsiteY4" fmla="*/ 74235 h 292425"/>
                  <a:gd name="connsiteX5" fmla="*/ 271649 w 354260"/>
                  <a:gd name="connsiteY5" fmla="*/ 48450 h 292425"/>
                  <a:gd name="connsiteX6" fmla="*/ 205544 w 354260"/>
                  <a:gd name="connsiteY6" fmla="*/ 48450 h 292425"/>
                  <a:gd name="connsiteX7" fmla="*/ 205544 w 354260"/>
                  <a:gd name="connsiteY7" fmla="*/ 292343 h 292425"/>
                  <a:gd name="connsiteX8" fmla="*/ 148717 w 354260"/>
                  <a:gd name="connsiteY8" fmla="*/ 292343 h 292425"/>
                  <a:gd name="connsiteX9" fmla="*/ 148717 w 354260"/>
                  <a:gd name="connsiteY9" fmla="*/ 48450 h 292425"/>
                  <a:gd name="connsiteX10" fmla="*/ 82612 w 354260"/>
                  <a:gd name="connsiteY10" fmla="*/ 48450 h 292425"/>
                  <a:gd name="connsiteX11" fmla="*/ 56826 w 354260"/>
                  <a:gd name="connsiteY11" fmla="*/ 74235 h 292425"/>
                  <a:gd name="connsiteX12" fmla="*/ 56826 w 354260"/>
                  <a:gd name="connsiteY12" fmla="*/ 292425 h 292425"/>
                  <a:gd name="connsiteX13" fmla="*/ 0 w 354260"/>
                  <a:gd name="connsiteY13" fmla="*/ 292425 h 292425"/>
                  <a:gd name="connsiteX14" fmla="*/ 0 w 354260"/>
                  <a:gd name="connsiteY14" fmla="*/ 77356 h 292425"/>
                  <a:gd name="connsiteX15" fmla="*/ 77356 w 354260"/>
                  <a:gd name="connsiteY15" fmla="*/ 0 h 292425"/>
                  <a:gd name="connsiteX16" fmla="*/ 276905 w 354260"/>
                  <a:gd name="connsiteY16"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260" h="292425">
                    <a:moveTo>
                      <a:pt x="276905" y="0"/>
                    </a:moveTo>
                    <a:cubicBezTo>
                      <a:pt x="319607" y="0"/>
                      <a:pt x="354261" y="34654"/>
                      <a:pt x="354261" y="77356"/>
                    </a:cubicBezTo>
                    <a:lnTo>
                      <a:pt x="354261" y="292425"/>
                    </a:lnTo>
                    <a:lnTo>
                      <a:pt x="297434" y="292425"/>
                    </a:lnTo>
                    <a:lnTo>
                      <a:pt x="297434" y="74235"/>
                    </a:lnTo>
                    <a:cubicBezTo>
                      <a:pt x="297434" y="60029"/>
                      <a:pt x="285856" y="48450"/>
                      <a:pt x="271649" y="48450"/>
                    </a:cubicBezTo>
                    <a:lnTo>
                      <a:pt x="205544" y="48450"/>
                    </a:lnTo>
                    <a:lnTo>
                      <a:pt x="205544" y="292343"/>
                    </a:lnTo>
                    <a:lnTo>
                      <a:pt x="148717" y="292343"/>
                    </a:lnTo>
                    <a:lnTo>
                      <a:pt x="148717" y="48450"/>
                    </a:lnTo>
                    <a:lnTo>
                      <a:pt x="82612" y="48450"/>
                    </a:lnTo>
                    <a:cubicBezTo>
                      <a:pt x="68405" y="48450"/>
                      <a:pt x="56826" y="60029"/>
                      <a:pt x="56826" y="74235"/>
                    </a:cubicBezTo>
                    <a:lnTo>
                      <a:pt x="56826" y="292425"/>
                    </a:lnTo>
                    <a:lnTo>
                      <a:pt x="0" y="292425"/>
                    </a:lnTo>
                    <a:lnTo>
                      <a:pt x="0" y="77356"/>
                    </a:lnTo>
                    <a:cubicBezTo>
                      <a:pt x="0" y="34654"/>
                      <a:pt x="34654" y="0"/>
                      <a:pt x="77356" y="0"/>
                    </a:cubicBezTo>
                    <a:lnTo>
                      <a:pt x="276905" y="0"/>
                    </a:lnTo>
                    <a:close/>
                  </a:path>
                </a:pathLst>
              </a:custGeom>
              <a:solidFill>
                <a:srgbClr val="022E33"/>
              </a:solidFill>
              <a:ln w="8212" cap="flat">
                <a:noFill/>
                <a:prstDash val="solid"/>
                <a:miter/>
              </a:ln>
            </p:spPr>
            <p:txBody>
              <a:bodyPr rtlCol="0" anchor="ctr"/>
              <a:lstStyle/>
              <a:p>
                <a:endParaRPr lang="en-US"/>
              </a:p>
            </p:txBody>
          </p:sp>
          <p:sp>
            <p:nvSpPr>
              <p:cNvPr id="57" name="Freeform: Shape 15">
                <a:extLst>
                  <a:ext uri="{FF2B5EF4-FFF2-40B4-BE49-F238E27FC236}">
                    <a16:creationId xmlns:a16="http://schemas.microsoft.com/office/drawing/2014/main" id="{B94A67F0-4D11-08EF-AED3-57759824CEED}"/>
                  </a:ext>
                </a:extLst>
              </p:cNvPr>
              <p:cNvSpPr/>
              <p:nvPr/>
            </p:nvSpPr>
            <p:spPr>
              <a:xfrm>
                <a:off x="4771176" y="2781081"/>
                <a:ext cx="299076" cy="299076"/>
              </a:xfrm>
              <a:custGeom>
                <a:avLst/>
                <a:gdLst>
                  <a:gd name="connsiteX0" fmla="*/ 149538 w 299076"/>
                  <a:gd name="connsiteY0" fmla="*/ 55020 h 299076"/>
                  <a:gd name="connsiteX1" fmla="*/ 244057 w 299076"/>
                  <a:gd name="connsiteY1" fmla="*/ 149538 h 299076"/>
                  <a:gd name="connsiteX2" fmla="*/ 149538 w 299076"/>
                  <a:gd name="connsiteY2" fmla="*/ 244057 h 299076"/>
                  <a:gd name="connsiteX3" fmla="*/ 55019 w 299076"/>
                  <a:gd name="connsiteY3" fmla="*/ 149538 h 299076"/>
                  <a:gd name="connsiteX4" fmla="*/ 149538 w 299076"/>
                  <a:gd name="connsiteY4" fmla="*/ 55020 h 299076"/>
                  <a:gd name="connsiteX5" fmla="*/ 149538 w 299076"/>
                  <a:gd name="connsiteY5" fmla="*/ 0 h 299076"/>
                  <a:gd name="connsiteX6" fmla="*/ 0 w 299076"/>
                  <a:gd name="connsiteY6" fmla="*/ 149538 h 299076"/>
                  <a:gd name="connsiteX7" fmla="*/ 149538 w 299076"/>
                  <a:gd name="connsiteY7" fmla="*/ 299077 h 299076"/>
                  <a:gd name="connsiteX8" fmla="*/ 299077 w 299076"/>
                  <a:gd name="connsiteY8" fmla="*/ 149538 h 299076"/>
                  <a:gd name="connsiteX9" fmla="*/ 149538 w 299076"/>
                  <a:gd name="connsiteY9" fmla="*/ 0 h 299076"/>
                  <a:gd name="connsiteX10" fmla="*/ 149538 w 299076"/>
                  <a:gd name="connsiteY10" fmla="*/ 0 h 29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076" h="299076">
                    <a:moveTo>
                      <a:pt x="149538" y="55020"/>
                    </a:moveTo>
                    <a:cubicBezTo>
                      <a:pt x="201684" y="55020"/>
                      <a:pt x="244057" y="97393"/>
                      <a:pt x="244057" y="149538"/>
                    </a:cubicBezTo>
                    <a:cubicBezTo>
                      <a:pt x="244057" y="201684"/>
                      <a:pt x="201684" y="244057"/>
                      <a:pt x="149538" y="244057"/>
                    </a:cubicBezTo>
                    <a:cubicBezTo>
                      <a:pt x="97393" y="244057"/>
                      <a:pt x="55019" y="201684"/>
                      <a:pt x="55019" y="149538"/>
                    </a:cubicBezTo>
                    <a:cubicBezTo>
                      <a:pt x="55019" y="97393"/>
                      <a:pt x="97393" y="55020"/>
                      <a:pt x="149538" y="55020"/>
                    </a:cubicBezTo>
                    <a:moveTo>
                      <a:pt x="149538" y="0"/>
                    </a:moveTo>
                    <a:cubicBezTo>
                      <a:pt x="66927" y="0"/>
                      <a:pt x="0" y="66927"/>
                      <a:pt x="0" y="149538"/>
                    </a:cubicBezTo>
                    <a:cubicBezTo>
                      <a:pt x="0" y="232150"/>
                      <a:pt x="66927" y="299077"/>
                      <a:pt x="149538" y="299077"/>
                    </a:cubicBezTo>
                    <a:cubicBezTo>
                      <a:pt x="232150" y="299077"/>
                      <a:pt x="299077" y="232150"/>
                      <a:pt x="299077" y="149538"/>
                    </a:cubicBezTo>
                    <a:cubicBezTo>
                      <a:pt x="299077" y="66927"/>
                      <a:pt x="232150" y="0"/>
                      <a:pt x="149538" y="0"/>
                    </a:cubicBezTo>
                    <a:lnTo>
                      <a:pt x="149538" y="0"/>
                    </a:lnTo>
                    <a:close/>
                  </a:path>
                </a:pathLst>
              </a:custGeom>
              <a:solidFill>
                <a:srgbClr val="022E33"/>
              </a:solidFill>
              <a:ln w="8212" cap="flat">
                <a:noFill/>
                <a:prstDash val="solid"/>
                <a:miter/>
              </a:ln>
            </p:spPr>
            <p:txBody>
              <a:bodyPr rtlCol="0" anchor="ctr"/>
              <a:lstStyle/>
              <a:p>
                <a:endParaRPr lang="en-US"/>
              </a:p>
            </p:txBody>
          </p:sp>
        </p:grpSp>
        <p:grpSp>
          <p:nvGrpSpPr>
            <p:cNvPr id="39" name="Graphic 2">
              <a:extLst>
                <a:ext uri="{FF2B5EF4-FFF2-40B4-BE49-F238E27FC236}">
                  <a16:creationId xmlns:a16="http://schemas.microsoft.com/office/drawing/2014/main" id="{C4A2299B-CC37-8EA1-1C30-FA1EF5890512}"/>
                </a:ext>
              </a:extLst>
            </p:cNvPr>
            <p:cNvGrpSpPr/>
            <p:nvPr/>
          </p:nvGrpSpPr>
          <p:grpSpPr>
            <a:xfrm>
              <a:off x="4372407" y="3202023"/>
              <a:ext cx="5711447" cy="794171"/>
              <a:chOff x="4372407" y="3219924"/>
              <a:chExt cx="5711447" cy="794171"/>
            </a:xfrm>
            <a:solidFill>
              <a:srgbClr val="022E33"/>
            </a:solidFill>
          </p:grpSpPr>
          <p:sp>
            <p:nvSpPr>
              <p:cNvPr id="40" name="Freeform: Shape 17">
                <a:extLst>
                  <a:ext uri="{FF2B5EF4-FFF2-40B4-BE49-F238E27FC236}">
                    <a16:creationId xmlns:a16="http://schemas.microsoft.com/office/drawing/2014/main" id="{CF86D32B-0AF1-E6EC-AB50-D9A16867E1B9}"/>
                  </a:ext>
                </a:extLst>
              </p:cNvPr>
              <p:cNvSpPr/>
              <p:nvPr/>
            </p:nvSpPr>
            <p:spPr>
              <a:xfrm>
                <a:off x="4372407" y="3229861"/>
                <a:ext cx="530569" cy="775201"/>
              </a:xfrm>
              <a:custGeom>
                <a:avLst/>
                <a:gdLst>
                  <a:gd name="connsiteX0" fmla="*/ 0 w 530569"/>
                  <a:gd name="connsiteY0" fmla="*/ 0 h 775201"/>
                  <a:gd name="connsiteX1" fmla="*/ 292425 w 530569"/>
                  <a:gd name="connsiteY1" fmla="*/ 0 h 775201"/>
                  <a:gd name="connsiteX2" fmla="*/ 530570 w 530569"/>
                  <a:gd name="connsiteY2" fmla="*/ 217040 h 775201"/>
                  <a:gd name="connsiteX3" fmla="*/ 292425 w 530569"/>
                  <a:gd name="connsiteY3" fmla="*/ 434080 h 775201"/>
                  <a:gd name="connsiteX4" fmla="*/ 74236 w 530569"/>
                  <a:gd name="connsiteY4" fmla="*/ 434080 h 775201"/>
                  <a:gd name="connsiteX5" fmla="*/ 74236 w 530569"/>
                  <a:gd name="connsiteY5" fmla="*/ 775202 h 775201"/>
                  <a:gd name="connsiteX6" fmla="*/ 0 w 530569"/>
                  <a:gd name="connsiteY6" fmla="*/ 775202 h 775201"/>
                  <a:gd name="connsiteX7" fmla="*/ 0 w 530569"/>
                  <a:gd name="connsiteY7" fmla="*/ 0 h 775201"/>
                  <a:gd name="connsiteX8" fmla="*/ 286841 w 530569"/>
                  <a:gd name="connsiteY8" fmla="*/ 369945 h 775201"/>
                  <a:gd name="connsiteX9" fmla="*/ 456253 w 530569"/>
                  <a:gd name="connsiteY9" fmla="*/ 217122 h 775201"/>
                  <a:gd name="connsiteX10" fmla="*/ 286841 w 530569"/>
                  <a:gd name="connsiteY10" fmla="*/ 65367 h 775201"/>
                  <a:gd name="connsiteX11" fmla="*/ 74236 w 530569"/>
                  <a:gd name="connsiteY11" fmla="*/ 65367 h 775201"/>
                  <a:gd name="connsiteX12" fmla="*/ 74236 w 530569"/>
                  <a:gd name="connsiteY12" fmla="*/ 369945 h 775201"/>
                  <a:gd name="connsiteX13" fmla="*/ 286841 w 530569"/>
                  <a:gd name="connsiteY13" fmla="*/ 369945 h 77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0569" h="775201">
                    <a:moveTo>
                      <a:pt x="0" y="0"/>
                    </a:moveTo>
                    <a:lnTo>
                      <a:pt x="292425" y="0"/>
                    </a:lnTo>
                    <a:cubicBezTo>
                      <a:pt x="436380" y="0"/>
                      <a:pt x="530570" y="86389"/>
                      <a:pt x="530570" y="217040"/>
                    </a:cubicBezTo>
                    <a:cubicBezTo>
                      <a:pt x="530570" y="347691"/>
                      <a:pt x="436462" y="434080"/>
                      <a:pt x="292425" y="434080"/>
                    </a:cubicBezTo>
                    <a:lnTo>
                      <a:pt x="74236" y="434080"/>
                    </a:lnTo>
                    <a:lnTo>
                      <a:pt x="74236" y="775202"/>
                    </a:lnTo>
                    <a:lnTo>
                      <a:pt x="0" y="775202"/>
                    </a:lnTo>
                    <a:lnTo>
                      <a:pt x="0" y="0"/>
                    </a:lnTo>
                    <a:close/>
                    <a:moveTo>
                      <a:pt x="286841" y="369945"/>
                    </a:moveTo>
                    <a:cubicBezTo>
                      <a:pt x="389818" y="369945"/>
                      <a:pt x="456253" y="309013"/>
                      <a:pt x="456253" y="217122"/>
                    </a:cubicBezTo>
                    <a:cubicBezTo>
                      <a:pt x="456253" y="125231"/>
                      <a:pt x="389818" y="65367"/>
                      <a:pt x="286841" y="65367"/>
                    </a:cubicBezTo>
                    <a:lnTo>
                      <a:pt x="74236" y="65367"/>
                    </a:lnTo>
                    <a:lnTo>
                      <a:pt x="74236" y="369945"/>
                    </a:lnTo>
                    <a:lnTo>
                      <a:pt x="286841" y="369945"/>
                    </a:lnTo>
                    <a:close/>
                  </a:path>
                </a:pathLst>
              </a:custGeom>
              <a:solidFill>
                <a:srgbClr val="022E33"/>
              </a:solidFill>
              <a:ln w="8212" cap="flat">
                <a:noFill/>
                <a:prstDash val="solid"/>
                <a:miter/>
              </a:ln>
            </p:spPr>
            <p:txBody>
              <a:bodyPr rtlCol="0" anchor="ctr"/>
              <a:lstStyle/>
              <a:p>
                <a:endParaRPr lang="en-US"/>
              </a:p>
            </p:txBody>
          </p:sp>
          <p:sp>
            <p:nvSpPr>
              <p:cNvPr id="41" name="Freeform: Shape 18">
                <a:extLst>
                  <a:ext uri="{FF2B5EF4-FFF2-40B4-BE49-F238E27FC236}">
                    <a16:creationId xmlns:a16="http://schemas.microsoft.com/office/drawing/2014/main" id="{655995B5-2F18-0980-F5DF-B57984B473BA}"/>
                  </a:ext>
                </a:extLst>
              </p:cNvPr>
              <p:cNvSpPr/>
              <p:nvPr/>
            </p:nvSpPr>
            <p:spPr>
              <a:xfrm>
                <a:off x="4996017" y="3446901"/>
                <a:ext cx="481791" cy="566948"/>
              </a:xfrm>
              <a:custGeom>
                <a:avLst/>
                <a:gdLst>
                  <a:gd name="connsiteX0" fmla="*/ 0 w 481791"/>
                  <a:gd name="connsiteY0" fmla="*/ 360009 h 566948"/>
                  <a:gd name="connsiteX1" fmla="*/ 0 w 481791"/>
                  <a:gd name="connsiteY1" fmla="*/ 82 h 566948"/>
                  <a:gd name="connsiteX2" fmla="*/ 69801 w 481791"/>
                  <a:gd name="connsiteY2" fmla="*/ 82 h 566948"/>
                  <a:gd name="connsiteX3" fmla="*/ 69801 w 481791"/>
                  <a:gd name="connsiteY3" fmla="*/ 353357 h 566948"/>
                  <a:gd name="connsiteX4" fmla="*/ 211538 w 481791"/>
                  <a:gd name="connsiteY4" fmla="*/ 503963 h 566948"/>
                  <a:gd name="connsiteX5" fmla="*/ 411990 w 481791"/>
                  <a:gd name="connsiteY5" fmla="*/ 238145 h 566948"/>
                  <a:gd name="connsiteX6" fmla="*/ 411990 w 481791"/>
                  <a:gd name="connsiteY6" fmla="*/ 0 h 566948"/>
                  <a:gd name="connsiteX7" fmla="*/ 481791 w 481791"/>
                  <a:gd name="connsiteY7" fmla="*/ 0 h 566948"/>
                  <a:gd name="connsiteX8" fmla="*/ 481791 w 481791"/>
                  <a:gd name="connsiteY8" fmla="*/ 558162 h 566948"/>
                  <a:gd name="connsiteX9" fmla="*/ 411990 w 481791"/>
                  <a:gd name="connsiteY9" fmla="*/ 558162 h 566948"/>
                  <a:gd name="connsiteX10" fmla="*/ 411990 w 481791"/>
                  <a:gd name="connsiteY10" fmla="*/ 431863 h 566948"/>
                  <a:gd name="connsiteX11" fmla="*/ 200452 w 481791"/>
                  <a:gd name="connsiteY11" fmla="*/ 566948 h 566948"/>
                  <a:gd name="connsiteX12" fmla="*/ 0 w 481791"/>
                  <a:gd name="connsiteY12" fmla="*/ 359845 h 56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1791" h="566948">
                    <a:moveTo>
                      <a:pt x="0" y="360009"/>
                    </a:moveTo>
                    <a:lnTo>
                      <a:pt x="0" y="82"/>
                    </a:lnTo>
                    <a:lnTo>
                      <a:pt x="69801" y="82"/>
                    </a:lnTo>
                    <a:lnTo>
                      <a:pt x="69801" y="353357"/>
                    </a:lnTo>
                    <a:cubicBezTo>
                      <a:pt x="69801" y="453050"/>
                      <a:pt x="125149" y="503963"/>
                      <a:pt x="211538" y="503963"/>
                    </a:cubicBezTo>
                    <a:cubicBezTo>
                      <a:pt x="334470" y="503963"/>
                      <a:pt x="411990" y="398769"/>
                      <a:pt x="411990" y="238145"/>
                    </a:cubicBezTo>
                    <a:lnTo>
                      <a:pt x="411990" y="0"/>
                    </a:lnTo>
                    <a:lnTo>
                      <a:pt x="481791" y="0"/>
                    </a:lnTo>
                    <a:lnTo>
                      <a:pt x="481791" y="558162"/>
                    </a:lnTo>
                    <a:lnTo>
                      <a:pt x="411990" y="558162"/>
                    </a:lnTo>
                    <a:lnTo>
                      <a:pt x="411990" y="431863"/>
                    </a:lnTo>
                    <a:cubicBezTo>
                      <a:pt x="377665" y="511600"/>
                      <a:pt x="300145" y="566948"/>
                      <a:pt x="200452" y="566948"/>
                    </a:cubicBezTo>
                    <a:cubicBezTo>
                      <a:pt x="85239" y="566948"/>
                      <a:pt x="0" y="496080"/>
                      <a:pt x="0" y="359845"/>
                    </a:cubicBezTo>
                    <a:close/>
                  </a:path>
                </a:pathLst>
              </a:custGeom>
              <a:solidFill>
                <a:srgbClr val="022E33"/>
              </a:solidFill>
              <a:ln w="8212" cap="flat">
                <a:noFill/>
                <a:prstDash val="solid"/>
                <a:miter/>
              </a:ln>
            </p:spPr>
            <p:txBody>
              <a:bodyPr rtlCol="0" anchor="ctr"/>
              <a:lstStyle/>
              <a:p>
                <a:endParaRPr lang="en-US"/>
              </a:p>
            </p:txBody>
          </p:sp>
          <p:sp>
            <p:nvSpPr>
              <p:cNvPr id="42" name="Freeform: Shape 19">
                <a:extLst>
                  <a:ext uri="{FF2B5EF4-FFF2-40B4-BE49-F238E27FC236}">
                    <a16:creationId xmlns:a16="http://schemas.microsoft.com/office/drawing/2014/main" id="{3B6661C6-5DC1-29D9-414C-AC2461D90391}"/>
                  </a:ext>
                </a:extLst>
              </p:cNvPr>
              <p:cNvSpPr/>
              <p:nvPr/>
            </p:nvSpPr>
            <p:spPr>
              <a:xfrm>
                <a:off x="5630549" y="3220992"/>
                <a:ext cx="554958" cy="793021"/>
              </a:xfrm>
              <a:custGeom>
                <a:avLst/>
                <a:gdLst>
                  <a:gd name="connsiteX0" fmla="*/ 69801 w 554958"/>
                  <a:gd name="connsiteY0" fmla="*/ 671157 h 793021"/>
                  <a:gd name="connsiteX1" fmla="*/ 69801 w 554958"/>
                  <a:gd name="connsiteY1" fmla="*/ 784153 h 793021"/>
                  <a:gd name="connsiteX2" fmla="*/ 0 w 554958"/>
                  <a:gd name="connsiteY2" fmla="*/ 784153 h 793021"/>
                  <a:gd name="connsiteX3" fmla="*/ 0 w 554958"/>
                  <a:gd name="connsiteY3" fmla="*/ 0 h 793021"/>
                  <a:gd name="connsiteX4" fmla="*/ 69801 w 554958"/>
                  <a:gd name="connsiteY4" fmla="*/ 0 h 793021"/>
                  <a:gd name="connsiteX5" fmla="*/ 69801 w 554958"/>
                  <a:gd name="connsiteY5" fmla="*/ 338904 h 793021"/>
                  <a:gd name="connsiteX6" fmla="*/ 280272 w 554958"/>
                  <a:gd name="connsiteY6" fmla="*/ 217040 h 793021"/>
                  <a:gd name="connsiteX7" fmla="*/ 554959 w 554958"/>
                  <a:gd name="connsiteY7" fmla="*/ 505031 h 793021"/>
                  <a:gd name="connsiteX8" fmla="*/ 280272 w 554958"/>
                  <a:gd name="connsiteY8" fmla="*/ 793022 h 793021"/>
                  <a:gd name="connsiteX9" fmla="*/ 69801 w 554958"/>
                  <a:gd name="connsiteY9" fmla="*/ 671157 h 793021"/>
                  <a:gd name="connsiteX10" fmla="*/ 276905 w 554958"/>
                  <a:gd name="connsiteY10" fmla="*/ 730940 h 793021"/>
                  <a:gd name="connsiteX11" fmla="*/ 484008 w 554958"/>
                  <a:gd name="connsiteY11" fmla="*/ 505031 h 793021"/>
                  <a:gd name="connsiteX12" fmla="*/ 276905 w 554958"/>
                  <a:gd name="connsiteY12" fmla="*/ 279122 h 793021"/>
                  <a:gd name="connsiteX13" fmla="*/ 70869 w 554958"/>
                  <a:gd name="connsiteY13" fmla="*/ 505031 h 793021"/>
                  <a:gd name="connsiteX14" fmla="*/ 276905 w 554958"/>
                  <a:gd name="connsiteY14" fmla="*/ 730940 h 79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4958" h="793021">
                    <a:moveTo>
                      <a:pt x="69801" y="671157"/>
                    </a:moveTo>
                    <a:lnTo>
                      <a:pt x="69801" y="784153"/>
                    </a:lnTo>
                    <a:lnTo>
                      <a:pt x="0" y="784153"/>
                    </a:lnTo>
                    <a:lnTo>
                      <a:pt x="0" y="0"/>
                    </a:lnTo>
                    <a:lnTo>
                      <a:pt x="69801" y="0"/>
                    </a:lnTo>
                    <a:lnTo>
                      <a:pt x="69801" y="338904"/>
                    </a:lnTo>
                    <a:cubicBezTo>
                      <a:pt x="104127" y="265819"/>
                      <a:pt x="189448" y="217040"/>
                      <a:pt x="280272" y="217040"/>
                    </a:cubicBezTo>
                    <a:cubicBezTo>
                      <a:pt x="444181" y="217040"/>
                      <a:pt x="554959" y="333320"/>
                      <a:pt x="554959" y="505031"/>
                    </a:cubicBezTo>
                    <a:cubicBezTo>
                      <a:pt x="554959" y="676741"/>
                      <a:pt x="444181" y="793022"/>
                      <a:pt x="280272" y="793022"/>
                    </a:cubicBezTo>
                    <a:cubicBezTo>
                      <a:pt x="189448" y="793022"/>
                      <a:pt x="104209" y="743175"/>
                      <a:pt x="69801" y="671157"/>
                    </a:cubicBezTo>
                    <a:close/>
                    <a:moveTo>
                      <a:pt x="276905" y="730940"/>
                    </a:moveTo>
                    <a:cubicBezTo>
                      <a:pt x="396552" y="730940"/>
                      <a:pt x="484008" y="637899"/>
                      <a:pt x="484008" y="505031"/>
                    </a:cubicBezTo>
                    <a:cubicBezTo>
                      <a:pt x="484008" y="372163"/>
                      <a:pt x="396470" y="279122"/>
                      <a:pt x="276905" y="279122"/>
                    </a:cubicBezTo>
                    <a:cubicBezTo>
                      <a:pt x="157340" y="279122"/>
                      <a:pt x="70869" y="372163"/>
                      <a:pt x="70869" y="505031"/>
                    </a:cubicBezTo>
                    <a:cubicBezTo>
                      <a:pt x="70869" y="637899"/>
                      <a:pt x="157258" y="730940"/>
                      <a:pt x="276905" y="730940"/>
                    </a:cubicBezTo>
                    <a:close/>
                  </a:path>
                </a:pathLst>
              </a:custGeom>
              <a:solidFill>
                <a:srgbClr val="022E33"/>
              </a:solidFill>
              <a:ln w="8212" cap="flat">
                <a:noFill/>
                <a:prstDash val="solid"/>
                <a:miter/>
              </a:ln>
            </p:spPr>
            <p:txBody>
              <a:bodyPr rtlCol="0" anchor="ctr"/>
              <a:lstStyle/>
              <a:p>
                <a:endParaRPr lang="en-US"/>
              </a:p>
            </p:txBody>
          </p:sp>
          <p:sp>
            <p:nvSpPr>
              <p:cNvPr id="43" name="Freeform: Shape 20">
                <a:extLst>
                  <a:ext uri="{FF2B5EF4-FFF2-40B4-BE49-F238E27FC236}">
                    <a16:creationId xmlns:a16="http://schemas.microsoft.com/office/drawing/2014/main" id="{CF7C0B50-0368-1FF6-63CC-66BB35FC9F98}"/>
                  </a:ext>
                </a:extLst>
              </p:cNvPr>
              <p:cNvSpPr/>
              <p:nvPr/>
            </p:nvSpPr>
            <p:spPr>
              <a:xfrm>
                <a:off x="6299572" y="3220992"/>
                <a:ext cx="70868" cy="784152"/>
              </a:xfrm>
              <a:custGeom>
                <a:avLst/>
                <a:gdLst>
                  <a:gd name="connsiteX0" fmla="*/ 0 w 70868"/>
                  <a:gd name="connsiteY0" fmla="*/ 0 h 784152"/>
                  <a:gd name="connsiteX1" fmla="*/ 70868 w 70868"/>
                  <a:gd name="connsiteY1" fmla="*/ 0 h 784152"/>
                  <a:gd name="connsiteX2" fmla="*/ 70868 w 70868"/>
                  <a:gd name="connsiteY2" fmla="*/ 784153 h 784152"/>
                  <a:gd name="connsiteX3" fmla="*/ 0 w 70868"/>
                  <a:gd name="connsiteY3" fmla="*/ 784153 h 784152"/>
                  <a:gd name="connsiteX4" fmla="*/ 0 w 70868"/>
                  <a:gd name="connsiteY4" fmla="*/ 0 h 784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8" h="784152">
                    <a:moveTo>
                      <a:pt x="0" y="0"/>
                    </a:moveTo>
                    <a:lnTo>
                      <a:pt x="70868" y="0"/>
                    </a:lnTo>
                    <a:lnTo>
                      <a:pt x="70868" y="784153"/>
                    </a:lnTo>
                    <a:lnTo>
                      <a:pt x="0" y="784153"/>
                    </a:lnTo>
                    <a:lnTo>
                      <a:pt x="0" y="0"/>
                    </a:lnTo>
                    <a:close/>
                  </a:path>
                </a:pathLst>
              </a:custGeom>
              <a:solidFill>
                <a:srgbClr val="022E33"/>
              </a:solidFill>
              <a:ln w="8212" cap="flat">
                <a:noFill/>
                <a:prstDash val="solid"/>
                <a:miter/>
              </a:ln>
            </p:spPr>
            <p:txBody>
              <a:bodyPr rtlCol="0" anchor="ctr"/>
              <a:lstStyle/>
              <a:p>
                <a:endParaRPr lang="en-US"/>
              </a:p>
            </p:txBody>
          </p:sp>
          <p:sp>
            <p:nvSpPr>
              <p:cNvPr id="44" name="Freeform: Shape 21">
                <a:extLst>
                  <a:ext uri="{FF2B5EF4-FFF2-40B4-BE49-F238E27FC236}">
                    <a16:creationId xmlns:a16="http://schemas.microsoft.com/office/drawing/2014/main" id="{FB97918E-0C4C-5921-C511-D4802D991C26}"/>
                  </a:ext>
                </a:extLst>
              </p:cNvPr>
              <p:cNvSpPr/>
              <p:nvPr/>
            </p:nvSpPr>
            <p:spPr>
              <a:xfrm>
                <a:off x="6503390" y="3219924"/>
                <a:ext cx="106261" cy="785220"/>
              </a:xfrm>
              <a:custGeom>
                <a:avLst/>
                <a:gdLst>
                  <a:gd name="connsiteX0" fmla="*/ 53131 w 106261"/>
                  <a:gd name="connsiteY0" fmla="*/ 0 h 785220"/>
                  <a:gd name="connsiteX1" fmla="*/ 106262 w 106261"/>
                  <a:gd name="connsiteY1" fmla="*/ 52063 h 785220"/>
                  <a:gd name="connsiteX2" fmla="*/ 53131 w 106261"/>
                  <a:gd name="connsiteY2" fmla="*/ 102977 h 785220"/>
                  <a:gd name="connsiteX3" fmla="*/ 0 w 106261"/>
                  <a:gd name="connsiteY3" fmla="*/ 52063 h 785220"/>
                  <a:gd name="connsiteX4" fmla="*/ 53131 w 106261"/>
                  <a:gd name="connsiteY4" fmla="*/ 0 h 785220"/>
                  <a:gd name="connsiteX5" fmla="*/ 17656 w 106261"/>
                  <a:gd name="connsiteY5" fmla="*/ 227059 h 785220"/>
                  <a:gd name="connsiteX6" fmla="*/ 88524 w 106261"/>
                  <a:gd name="connsiteY6" fmla="*/ 227059 h 785220"/>
                  <a:gd name="connsiteX7" fmla="*/ 88524 w 106261"/>
                  <a:gd name="connsiteY7" fmla="*/ 785220 h 785220"/>
                  <a:gd name="connsiteX8" fmla="*/ 17656 w 106261"/>
                  <a:gd name="connsiteY8" fmla="*/ 785220 h 785220"/>
                  <a:gd name="connsiteX9" fmla="*/ 17656 w 106261"/>
                  <a:gd name="connsiteY9" fmla="*/ 227059 h 7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61" h="785220">
                    <a:moveTo>
                      <a:pt x="53131" y="0"/>
                    </a:moveTo>
                    <a:cubicBezTo>
                      <a:pt x="84172" y="0"/>
                      <a:pt x="106262" y="22172"/>
                      <a:pt x="106262" y="52063"/>
                    </a:cubicBezTo>
                    <a:cubicBezTo>
                      <a:pt x="106262" y="81955"/>
                      <a:pt x="84090" y="102977"/>
                      <a:pt x="53131" y="102977"/>
                    </a:cubicBezTo>
                    <a:cubicBezTo>
                      <a:pt x="22172" y="102977"/>
                      <a:pt x="0" y="80805"/>
                      <a:pt x="0" y="52063"/>
                    </a:cubicBezTo>
                    <a:cubicBezTo>
                      <a:pt x="0" y="23322"/>
                      <a:pt x="22172" y="0"/>
                      <a:pt x="53131" y="0"/>
                    </a:cubicBezTo>
                    <a:close/>
                    <a:moveTo>
                      <a:pt x="17656" y="227059"/>
                    </a:moveTo>
                    <a:lnTo>
                      <a:pt x="88524" y="227059"/>
                    </a:lnTo>
                    <a:lnTo>
                      <a:pt x="88524" y="785220"/>
                    </a:lnTo>
                    <a:lnTo>
                      <a:pt x="17656" y="785220"/>
                    </a:lnTo>
                    <a:lnTo>
                      <a:pt x="17656" y="227059"/>
                    </a:lnTo>
                    <a:close/>
                  </a:path>
                </a:pathLst>
              </a:custGeom>
              <a:solidFill>
                <a:srgbClr val="022E33"/>
              </a:solidFill>
              <a:ln w="8212" cap="flat">
                <a:noFill/>
                <a:prstDash val="solid"/>
                <a:miter/>
              </a:ln>
            </p:spPr>
            <p:txBody>
              <a:bodyPr rtlCol="0" anchor="ctr"/>
              <a:lstStyle/>
              <a:p>
                <a:endParaRPr lang="en-US"/>
              </a:p>
            </p:txBody>
          </p:sp>
          <p:sp>
            <p:nvSpPr>
              <p:cNvPr id="45" name="Freeform: Shape 22">
                <a:extLst>
                  <a:ext uri="{FF2B5EF4-FFF2-40B4-BE49-F238E27FC236}">
                    <a16:creationId xmlns:a16="http://schemas.microsoft.com/office/drawing/2014/main" id="{3863349F-6B91-214A-04C0-D127953854A4}"/>
                  </a:ext>
                </a:extLst>
              </p:cNvPr>
              <p:cNvSpPr/>
              <p:nvPr/>
            </p:nvSpPr>
            <p:spPr>
              <a:xfrm>
                <a:off x="6704910" y="3438032"/>
                <a:ext cx="519401" cy="575817"/>
              </a:xfrm>
              <a:custGeom>
                <a:avLst/>
                <a:gdLst>
                  <a:gd name="connsiteX0" fmla="*/ 0 w 519401"/>
                  <a:gd name="connsiteY0" fmla="*/ 287991 h 575817"/>
                  <a:gd name="connsiteX1" fmla="*/ 271320 w 519401"/>
                  <a:gd name="connsiteY1" fmla="*/ 0 h 575817"/>
                  <a:gd name="connsiteX2" fmla="*/ 513899 w 519401"/>
                  <a:gd name="connsiteY2" fmla="*/ 184932 h 575817"/>
                  <a:gd name="connsiteX3" fmla="*/ 444098 w 519401"/>
                  <a:gd name="connsiteY3" fmla="*/ 184932 h 575817"/>
                  <a:gd name="connsiteX4" fmla="*/ 271320 w 519401"/>
                  <a:gd name="connsiteY4" fmla="*/ 62000 h 575817"/>
                  <a:gd name="connsiteX5" fmla="*/ 71936 w 519401"/>
                  <a:gd name="connsiteY5" fmla="*/ 287909 h 575817"/>
                  <a:gd name="connsiteX6" fmla="*/ 271320 w 519401"/>
                  <a:gd name="connsiteY6" fmla="*/ 513818 h 575817"/>
                  <a:gd name="connsiteX7" fmla="*/ 449601 w 519401"/>
                  <a:gd name="connsiteY7" fmla="*/ 379800 h 575817"/>
                  <a:gd name="connsiteX8" fmla="*/ 519402 w 519401"/>
                  <a:gd name="connsiteY8" fmla="*/ 379800 h 575817"/>
                  <a:gd name="connsiteX9" fmla="*/ 271320 w 519401"/>
                  <a:gd name="connsiteY9" fmla="*/ 575817 h 575817"/>
                  <a:gd name="connsiteX10" fmla="*/ 0 w 519401"/>
                  <a:gd name="connsiteY10" fmla="*/ 287826 h 57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401" h="575817">
                    <a:moveTo>
                      <a:pt x="0" y="287991"/>
                    </a:moveTo>
                    <a:cubicBezTo>
                      <a:pt x="0" y="121864"/>
                      <a:pt x="115212" y="0"/>
                      <a:pt x="271320" y="0"/>
                    </a:cubicBezTo>
                    <a:cubicBezTo>
                      <a:pt x="404189" y="0"/>
                      <a:pt x="495012" y="76453"/>
                      <a:pt x="513899" y="184932"/>
                    </a:cubicBezTo>
                    <a:lnTo>
                      <a:pt x="444098" y="184932"/>
                    </a:lnTo>
                    <a:cubicBezTo>
                      <a:pt x="426361" y="110696"/>
                      <a:pt x="359927" y="62000"/>
                      <a:pt x="271320" y="62000"/>
                    </a:cubicBezTo>
                    <a:cubicBezTo>
                      <a:pt x="157257" y="62000"/>
                      <a:pt x="71936" y="156108"/>
                      <a:pt x="71936" y="287909"/>
                    </a:cubicBezTo>
                    <a:cubicBezTo>
                      <a:pt x="71936" y="419709"/>
                      <a:pt x="157175" y="513818"/>
                      <a:pt x="271320" y="513818"/>
                    </a:cubicBezTo>
                    <a:cubicBezTo>
                      <a:pt x="367646" y="513818"/>
                      <a:pt x="437447" y="457320"/>
                      <a:pt x="449601" y="379800"/>
                    </a:cubicBezTo>
                    <a:lnTo>
                      <a:pt x="519402" y="379800"/>
                    </a:lnTo>
                    <a:cubicBezTo>
                      <a:pt x="503881" y="488361"/>
                      <a:pt x="406406" y="575817"/>
                      <a:pt x="271320" y="575817"/>
                    </a:cubicBezTo>
                    <a:cubicBezTo>
                      <a:pt x="115130" y="575817"/>
                      <a:pt x="0" y="452885"/>
                      <a:pt x="0" y="287826"/>
                    </a:cubicBezTo>
                    <a:close/>
                  </a:path>
                </a:pathLst>
              </a:custGeom>
              <a:solidFill>
                <a:srgbClr val="022E33"/>
              </a:solidFill>
              <a:ln w="8212" cap="flat">
                <a:noFill/>
                <a:prstDash val="solid"/>
                <a:miter/>
              </a:ln>
            </p:spPr>
            <p:txBody>
              <a:bodyPr rtlCol="0" anchor="ctr"/>
              <a:lstStyle/>
              <a:p>
                <a:endParaRPr lang="en-US"/>
              </a:p>
            </p:txBody>
          </p:sp>
          <p:sp>
            <p:nvSpPr>
              <p:cNvPr id="46" name="Freeform: Shape 23">
                <a:extLst>
                  <a:ext uri="{FF2B5EF4-FFF2-40B4-BE49-F238E27FC236}">
                    <a16:creationId xmlns:a16="http://schemas.microsoft.com/office/drawing/2014/main" id="{2EC78DF6-4C25-8639-48DC-71C0F27D7918}"/>
                  </a:ext>
                </a:extLst>
              </p:cNvPr>
              <p:cNvSpPr/>
              <p:nvPr/>
            </p:nvSpPr>
            <p:spPr>
              <a:xfrm>
                <a:off x="7301668" y="3438032"/>
                <a:ext cx="456334" cy="575981"/>
              </a:xfrm>
              <a:custGeom>
                <a:avLst/>
                <a:gdLst>
                  <a:gd name="connsiteX0" fmla="*/ 164 w 456334"/>
                  <a:gd name="connsiteY0" fmla="*/ 419791 h 575981"/>
                  <a:gd name="connsiteX1" fmla="*/ 260399 w 456334"/>
                  <a:gd name="connsiteY1" fmla="*/ 233710 h 575981"/>
                  <a:gd name="connsiteX2" fmla="*/ 386697 w 456334"/>
                  <a:gd name="connsiteY2" fmla="*/ 220407 h 575981"/>
                  <a:gd name="connsiteX3" fmla="*/ 386697 w 456334"/>
                  <a:gd name="connsiteY3" fmla="*/ 196018 h 575981"/>
                  <a:gd name="connsiteX4" fmla="*/ 234942 w 456334"/>
                  <a:gd name="connsiteY4" fmla="*/ 62000 h 575981"/>
                  <a:gd name="connsiteX5" fmla="*/ 76535 w 456334"/>
                  <a:gd name="connsiteY5" fmla="*/ 196018 h 575981"/>
                  <a:gd name="connsiteX6" fmla="*/ 4516 w 456334"/>
                  <a:gd name="connsiteY6" fmla="*/ 196018 h 575981"/>
                  <a:gd name="connsiteX7" fmla="*/ 234860 w 456334"/>
                  <a:gd name="connsiteY7" fmla="*/ 0 h 575981"/>
                  <a:gd name="connsiteX8" fmla="*/ 456334 w 456334"/>
                  <a:gd name="connsiteY8" fmla="*/ 201602 h 575981"/>
                  <a:gd name="connsiteX9" fmla="*/ 456334 w 456334"/>
                  <a:gd name="connsiteY9" fmla="*/ 567113 h 575981"/>
                  <a:gd name="connsiteX10" fmla="*/ 386533 w 456334"/>
                  <a:gd name="connsiteY10" fmla="*/ 567113 h 575981"/>
                  <a:gd name="connsiteX11" fmla="*/ 386533 w 456334"/>
                  <a:gd name="connsiteY11" fmla="*/ 451900 h 575981"/>
                  <a:gd name="connsiteX12" fmla="*/ 192733 w 456334"/>
                  <a:gd name="connsiteY12" fmla="*/ 575982 h 575981"/>
                  <a:gd name="connsiteX13" fmla="*/ 0 w 456334"/>
                  <a:gd name="connsiteY13" fmla="*/ 419791 h 575981"/>
                  <a:gd name="connsiteX14" fmla="*/ 197331 w 456334"/>
                  <a:gd name="connsiteY14" fmla="*/ 513900 h 575981"/>
                  <a:gd name="connsiteX15" fmla="*/ 386697 w 456334"/>
                  <a:gd name="connsiteY15" fmla="*/ 305728 h 575981"/>
                  <a:gd name="connsiteX16" fmla="*/ 386697 w 456334"/>
                  <a:gd name="connsiteY16" fmla="*/ 276905 h 575981"/>
                  <a:gd name="connsiteX17" fmla="*/ 264833 w 456334"/>
                  <a:gd name="connsiteY17" fmla="*/ 290208 h 575981"/>
                  <a:gd name="connsiteX18" fmla="*/ 71032 w 456334"/>
                  <a:gd name="connsiteY18" fmla="*/ 417574 h 575981"/>
                  <a:gd name="connsiteX19" fmla="*/ 197250 w 456334"/>
                  <a:gd name="connsiteY19" fmla="*/ 513900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6334" h="575981">
                    <a:moveTo>
                      <a:pt x="164" y="419791"/>
                    </a:moveTo>
                    <a:cubicBezTo>
                      <a:pt x="164" y="305728"/>
                      <a:pt x="78834" y="252515"/>
                      <a:pt x="260399" y="233710"/>
                    </a:cubicBezTo>
                    <a:lnTo>
                      <a:pt x="386697" y="220407"/>
                    </a:lnTo>
                    <a:lnTo>
                      <a:pt x="386697" y="196018"/>
                    </a:lnTo>
                    <a:cubicBezTo>
                      <a:pt x="386697" y="114063"/>
                      <a:pt x="324698" y="62000"/>
                      <a:pt x="234942" y="62000"/>
                    </a:cubicBezTo>
                    <a:cubicBezTo>
                      <a:pt x="145186" y="62000"/>
                      <a:pt x="88770" y="111846"/>
                      <a:pt x="76535" y="196018"/>
                    </a:cubicBezTo>
                    <a:lnTo>
                      <a:pt x="4516" y="196018"/>
                    </a:lnTo>
                    <a:cubicBezTo>
                      <a:pt x="20037" y="87457"/>
                      <a:pt x="104209" y="0"/>
                      <a:pt x="234860" y="0"/>
                    </a:cubicBezTo>
                    <a:cubicBezTo>
                      <a:pt x="365511" y="0"/>
                      <a:pt x="456334" y="78670"/>
                      <a:pt x="456334" y="201602"/>
                    </a:cubicBezTo>
                    <a:lnTo>
                      <a:pt x="456334" y="567113"/>
                    </a:lnTo>
                    <a:lnTo>
                      <a:pt x="386533" y="567113"/>
                    </a:lnTo>
                    <a:lnTo>
                      <a:pt x="386533" y="451900"/>
                    </a:lnTo>
                    <a:cubicBezTo>
                      <a:pt x="366579" y="521701"/>
                      <a:pt x="284624" y="575982"/>
                      <a:pt x="192733" y="575982"/>
                    </a:cubicBezTo>
                    <a:cubicBezTo>
                      <a:pt x="74235" y="575982"/>
                      <a:pt x="0" y="515049"/>
                      <a:pt x="0" y="419791"/>
                    </a:cubicBezTo>
                    <a:close/>
                    <a:moveTo>
                      <a:pt x="197331" y="513900"/>
                    </a:moveTo>
                    <a:cubicBezTo>
                      <a:pt x="310327" y="513900"/>
                      <a:pt x="386697" y="428660"/>
                      <a:pt x="386697" y="305728"/>
                    </a:cubicBezTo>
                    <a:lnTo>
                      <a:pt x="386697" y="276905"/>
                    </a:lnTo>
                    <a:lnTo>
                      <a:pt x="264833" y="290208"/>
                    </a:lnTo>
                    <a:cubicBezTo>
                      <a:pt x="128598" y="305728"/>
                      <a:pt x="71032" y="336769"/>
                      <a:pt x="71032" y="417574"/>
                    </a:cubicBezTo>
                    <a:cubicBezTo>
                      <a:pt x="71032" y="476289"/>
                      <a:pt x="119729" y="513900"/>
                      <a:pt x="197250" y="513900"/>
                    </a:cubicBezTo>
                    <a:close/>
                  </a:path>
                </a:pathLst>
              </a:custGeom>
              <a:solidFill>
                <a:srgbClr val="022E33"/>
              </a:solidFill>
              <a:ln w="8212" cap="flat">
                <a:noFill/>
                <a:prstDash val="solid"/>
                <a:miter/>
              </a:ln>
            </p:spPr>
            <p:txBody>
              <a:bodyPr rtlCol="0" anchor="ctr"/>
              <a:lstStyle/>
              <a:p>
                <a:endParaRPr lang="en-US"/>
              </a:p>
            </p:txBody>
          </p:sp>
          <p:sp>
            <p:nvSpPr>
              <p:cNvPr id="47" name="Freeform: Shape 24">
                <a:extLst>
                  <a:ext uri="{FF2B5EF4-FFF2-40B4-BE49-F238E27FC236}">
                    <a16:creationId xmlns:a16="http://schemas.microsoft.com/office/drawing/2014/main" id="{7056F47E-1AD5-2877-9864-D3CDB397BDC2}"/>
                  </a:ext>
                </a:extLst>
              </p:cNvPr>
              <p:cNvSpPr/>
              <p:nvPr/>
            </p:nvSpPr>
            <p:spPr>
              <a:xfrm>
                <a:off x="7824601" y="3301797"/>
                <a:ext cx="315664" cy="712216"/>
              </a:xfrm>
              <a:custGeom>
                <a:avLst/>
                <a:gdLst>
                  <a:gd name="connsiteX0" fmla="*/ 97475 w 315664"/>
                  <a:gd name="connsiteY0" fmla="*/ 549375 h 712216"/>
                  <a:gd name="connsiteX1" fmla="*/ 97475 w 315664"/>
                  <a:gd name="connsiteY1" fmla="*/ 203819 h 712216"/>
                  <a:gd name="connsiteX2" fmla="*/ 0 w 315664"/>
                  <a:gd name="connsiteY2" fmla="*/ 203819 h 712216"/>
                  <a:gd name="connsiteX3" fmla="*/ 0 w 315664"/>
                  <a:gd name="connsiteY3" fmla="*/ 145104 h 712216"/>
                  <a:gd name="connsiteX4" fmla="*/ 97475 w 315664"/>
                  <a:gd name="connsiteY4" fmla="*/ 145104 h 712216"/>
                  <a:gd name="connsiteX5" fmla="*/ 97475 w 315664"/>
                  <a:gd name="connsiteY5" fmla="*/ 0 h 712216"/>
                  <a:gd name="connsiteX6" fmla="*/ 167276 w 315664"/>
                  <a:gd name="connsiteY6" fmla="*/ 0 h 712216"/>
                  <a:gd name="connsiteX7" fmla="*/ 167276 w 315664"/>
                  <a:gd name="connsiteY7" fmla="*/ 145104 h 712216"/>
                  <a:gd name="connsiteX8" fmla="*/ 314597 w 315664"/>
                  <a:gd name="connsiteY8" fmla="*/ 145104 h 712216"/>
                  <a:gd name="connsiteX9" fmla="*/ 314597 w 315664"/>
                  <a:gd name="connsiteY9" fmla="*/ 203819 h 712216"/>
                  <a:gd name="connsiteX10" fmla="*/ 167276 w 315664"/>
                  <a:gd name="connsiteY10" fmla="*/ 203819 h 712216"/>
                  <a:gd name="connsiteX11" fmla="*/ 167276 w 315664"/>
                  <a:gd name="connsiteY11" fmla="*/ 544941 h 712216"/>
                  <a:gd name="connsiteX12" fmla="*/ 252515 w 315664"/>
                  <a:gd name="connsiteY12" fmla="*/ 649067 h 712216"/>
                  <a:gd name="connsiteX13" fmla="*/ 315665 w 315664"/>
                  <a:gd name="connsiteY13" fmla="*/ 637981 h 712216"/>
                  <a:gd name="connsiteX14" fmla="*/ 315665 w 315664"/>
                  <a:gd name="connsiteY14" fmla="*/ 698913 h 712216"/>
                  <a:gd name="connsiteX15" fmla="*/ 245864 w 315664"/>
                  <a:gd name="connsiteY15" fmla="*/ 712217 h 712216"/>
                  <a:gd name="connsiteX16" fmla="*/ 97475 w 315664"/>
                  <a:gd name="connsiteY16" fmla="*/ 549375 h 71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5664" h="712216">
                    <a:moveTo>
                      <a:pt x="97475" y="549375"/>
                    </a:moveTo>
                    <a:lnTo>
                      <a:pt x="97475" y="203819"/>
                    </a:lnTo>
                    <a:lnTo>
                      <a:pt x="0" y="203819"/>
                    </a:lnTo>
                    <a:lnTo>
                      <a:pt x="0" y="145104"/>
                    </a:lnTo>
                    <a:lnTo>
                      <a:pt x="97475" y="145104"/>
                    </a:lnTo>
                    <a:lnTo>
                      <a:pt x="97475" y="0"/>
                    </a:lnTo>
                    <a:lnTo>
                      <a:pt x="167276" y="0"/>
                    </a:lnTo>
                    <a:lnTo>
                      <a:pt x="167276" y="145104"/>
                    </a:lnTo>
                    <a:lnTo>
                      <a:pt x="314597" y="145104"/>
                    </a:lnTo>
                    <a:lnTo>
                      <a:pt x="314597" y="203819"/>
                    </a:lnTo>
                    <a:lnTo>
                      <a:pt x="167276" y="203819"/>
                    </a:lnTo>
                    <a:lnTo>
                      <a:pt x="167276" y="544941"/>
                    </a:lnTo>
                    <a:cubicBezTo>
                      <a:pt x="167276" y="615809"/>
                      <a:pt x="201602" y="649067"/>
                      <a:pt x="252515" y="649067"/>
                    </a:cubicBezTo>
                    <a:cubicBezTo>
                      <a:pt x="273538" y="649067"/>
                      <a:pt x="297927" y="644633"/>
                      <a:pt x="315665" y="637981"/>
                    </a:cubicBezTo>
                    <a:lnTo>
                      <a:pt x="315665" y="698913"/>
                    </a:lnTo>
                    <a:cubicBezTo>
                      <a:pt x="296860" y="707782"/>
                      <a:pt x="269186" y="712217"/>
                      <a:pt x="245864" y="712217"/>
                    </a:cubicBezTo>
                    <a:cubicBezTo>
                      <a:pt x="158407" y="712217"/>
                      <a:pt x="97475" y="656869"/>
                      <a:pt x="97475" y="549375"/>
                    </a:cubicBezTo>
                    <a:close/>
                  </a:path>
                </a:pathLst>
              </a:custGeom>
              <a:solidFill>
                <a:srgbClr val="022E33"/>
              </a:solidFill>
              <a:ln w="8212" cap="flat">
                <a:noFill/>
                <a:prstDash val="solid"/>
                <a:miter/>
              </a:ln>
            </p:spPr>
            <p:txBody>
              <a:bodyPr rtlCol="0" anchor="ctr"/>
              <a:lstStyle/>
              <a:p>
                <a:endParaRPr lang="en-US"/>
              </a:p>
            </p:txBody>
          </p:sp>
          <p:sp>
            <p:nvSpPr>
              <p:cNvPr id="48" name="Freeform: Shape 25">
                <a:extLst>
                  <a:ext uri="{FF2B5EF4-FFF2-40B4-BE49-F238E27FC236}">
                    <a16:creationId xmlns:a16="http://schemas.microsoft.com/office/drawing/2014/main" id="{F37AB345-D49F-2B6D-1DFF-97D3CEC257F8}"/>
                  </a:ext>
                </a:extLst>
              </p:cNvPr>
              <p:cNvSpPr/>
              <p:nvPr/>
            </p:nvSpPr>
            <p:spPr>
              <a:xfrm>
                <a:off x="8210066" y="3219924"/>
                <a:ext cx="106261" cy="785220"/>
              </a:xfrm>
              <a:custGeom>
                <a:avLst/>
                <a:gdLst>
                  <a:gd name="connsiteX0" fmla="*/ 53131 w 106261"/>
                  <a:gd name="connsiteY0" fmla="*/ 0 h 785220"/>
                  <a:gd name="connsiteX1" fmla="*/ 106262 w 106261"/>
                  <a:gd name="connsiteY1" fmla="*/ 52063 h 785220"/>
                  <a:gd name="connsiteX2" fmla="*/ 53131 w 106261"/>
                  <a:gd name="connsiteY2" fmla="*/ 102977 h 785220"/>
                  <a:gd name="connsiteX3" fmla="*/ 0 w 106261"/>
                  <a:gd name="connsiteY3" fmla="*/ 52063 h 785220"/>
                  <a:gd name="connsiteX4" fmla="*/ 53131 w 106261"/>
                  <a:gd name="connsiteY4" fmla="*/ 0 h 785220"/>
                  <a:gd name="connsiteX5" fmla="*/ 17656 w 106261"/>
                  <a:gd name="connsiteY5" fmla="*/ 227059 h 785220"/>
                  <a:gd name="connsiteX6" fmla="*/ 88524 w 106261"/>
                  <a:gd name="connsiteY6" fmla="*/ 227059 h 785220"/>
                  <a:gd name="connsiteX7" fmla="*/ 88524 w 106261"/>
                  <a:gd name="connsiteY7" fmla="*/ 785220 h 785220"/>
                  <a:gd name="connsiteX8" fmla="*/ 17656 w 106261"/>
                  <a:gd name="connsiteY8" fmla="*/ 785220 h 785220"/>
                  <a:gd name="connsiteX9" fmla="*/ 17656 w 106261"/>
                  <a:gd name="connsiteY9" fmla="*/ 227059 h 7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61" h="785220">
                    <a:moveTo>
                      <a:pt x="53131" y="0"/>
                    </a:moveTo>
                    <a:cubicBezTo>
                      <a:pt x="84172" y="0"/>
                      <a:pt x="106262" y="22172"/>
                      <a:pt x="106262" y="52063"/>
                    </a:cubicBezTo>
                    <a:cubicBezTo>
                      <a:pt x="106262" y="81955"/>
                      <a:pt x="84090" y="102977"/>
                      <a:pt x="53131" y="102977"/>
                    </a:cubicBezTo>
                    <a:cubicBezTo>
                      <a:pt x="22172" y="102977"/>
                      <a:pt x="0" y="80805"/>
                      <a:pt x="0" y="52063"/>
                    </a:cubicBezTo>
                    <a:cubicBezTo>
                      <a:pt x="0" y="23322"/>
                      <a:pt x="22172" y="0"/>
                      <a:pt x="53131" y="0"/>
                    </a:cubicBezTo>
                    <a:close/>
                    <a:moveTo>
                      <a:pt x="17656" y="227059"/>
                    </a:moveTo>
                    <a:lnTo>
                      <a:pt x="88524" y="227059"/>
                    </a:lnTo>
                    <a:lnTo>
                      <a:pt x="88524" y="785220"/>
                    </a:lnTo>
                    <a:lnTo>
                      <a:pt x="17656" y="785220"/>
                    </a:lnTo>
                    <a:lnTo>
                      <a:pt x="17656" y="227059"/>
                    </a:lnTo>
                    <a:close/>
                  </a:path>
                </a:pathLst>
              </a:custGeom>
              <a:solidFill>
                <a:srgbClr val="022E33"/>
              </a:solidFill>
              <a:ln w="8212" cap="flat">
                <a:noFill/>
                <a:prstDash val="solid"/>
                <a:miter/>
              </a:ln>
            </p:spPr>
            <p:txBody>
              <a:bodyPr rtlCol="0" anchor="ctr"/>
              <a:lstStyle/>
              <a:p>
                <a:endParaRPr lang="en-US"/>
              </a:p>
            </p:txBody>
          </p:sp>
          <p:sp>
            <p:nvSpPr>
              <p:cNvPr id="49" name="Freeform: Shape 26">
                <a:extLst>
                  <a:ext uri="{FF2B5EF4-FFF2-40B4-BE49-F238E27FC236}">
                    <a16:creationId xmlns:a16="http://schemas.microsoft.com/office/drawing/2014/main" id="{54368A8B-ED36-B322-1E80-16C2C7B11513}"/>
                  </a:ext>
                </a:extLst>
              </p:cNvPr>
              <p:cNvSpPr/>
              <p:nvPr/>
            </p:nvSpPr>
            <p:spPr>
              <a:xfrm>
                <a:off x="8411586" y="3438032"/>
                <a:ext cx="554877" cy="575981"/>
              </a:xfrm>
              <a:custGeom>
                <a:avLst/>
                <a:gdLst>
                  <a:gd name="connsiteX0" fmla="*/ 0 w 554877"/>
                  <a:gd name="connsiteY0" fmla="*/ 287991 h 575981"/>
                  <a:gd name="connsiteX1" fmla="*/ 277973 w 554877"/>
                  <a:gd name="connsiteY1" fmla="*/ 0 h 575981"/>
                  <a:gd name="connsiteX2" fmla="*/ 554877 w 554877"/>
                  <a:gd name="connsiteY2" fmla="*/ 287991 h 575981"/>
                  <a:gd name="connsiteX3" fmla="*/ 277973 w 554877"/>
                  <a:gd name="connsiteY3" fmla="*/ 575982 h 575981"/>
                  <a:gd name="connsiteX4" fmla="*/ 0 w 554877"/>
                  <a:gd name="connsiteY4" fmla="*/ 287991 h 575981"/>
                  <a:gd name="connsiteX5" fmla="*/ 277973 w 554877"/>
                  <a:gd name="connsiteY5" fmla="*/ 513900 h 575981"/>
                  <a:gd name="connsiteX6" fmla="*/ 484008 w 554877"/>
                  <a:gd name="connsiteY6" fmla="*/ 287991 h 575981"/>
                  <a:gd name="connsiteX7" fmla="*/ 277973 w 554877"/>
                  <a:gd name="connsiteY7" fmla="*/ 62082 h 575981"/>
                  <a:gd name="connsiteX8" fmla="*/ 71936 w 554877"/>
                  <a:gd name="connsiteY8" fmla="*/ 287991 h 575981"/>
                  <a:gd name="connsiteX9" fmla="*/ 277973 w 554877"/>
                  <a:gd name="connsiteY9" fmla="*/ 513900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4877" h="575981">
                    <a:moveTo>
                      <a:pt x="0" y="287991"/>
                    </a:moveTo>
                    <a:cubicBezTo>
                      <a:pt x="0" y="119647"/>
                      <a:pt x="117430" y="0"/>
                      <a:pt x="277973" y="0"/>
                    </a:cubicBezTo>
                    <a:cubicBezTo>
                      <a:pt x="438515" y="0"/>
                      <a:pt x="554877" y="119647"/>
                      <a:pt x="554877" y="287991"/>
                    </a:cubicBezTo>
                    <a:cubicBezTo>
                      <a:pt x="554877" y="456334"/>
                      <a:pt x="437447" y="575982"/>
                      <a:pt x="277973" y="575982"/>
                    </a:cubicBezTo>
                    <a:cubicBezTo>
                      <a:pt x="118497" y="575982"/>
                      <a:pt x="0" y="456334"/>
                      <a:pt x="0" y="287991"/>
                    </a:cubicBezTo>
                    <a:close/>
                    <a:moveTo>
                      <a:pt x="277973" y="513900"/>
                    </a:moveTo>
                    <a:cubicBezTo>
                      <a:pt x="397620" y="513900"/>
                      <a:pt x="484008" y="420859"/>
                      <a:pt x="484008" y="287991"/>
                    </a:cubicBezTo>
                    <a:cubicBezTo>
                      <a:pt x="484008" y="155122"/>
                      <a:pt x="397620" y="62082"/>
                      <a:pt x="277973" y="62082"/>
                    </a:cubicBezTo>
                    <a:cubicBezTo>
                      <a:pt x="158325" y="62082"/>
                      <a:pt x="71936" y="155122"/>
                      <a:pt x="71936" y="287991"/>
                    </a:cubicBezTo>
                    <a:cubicBezTo>
                      <a:pt x="71936" y="420859"/>
                      <a:pt x="158325" y="513900"/>
                      <a:pt x="277973" y="513900"/>
                    </a:cubicBezTo>
                    <a:close/>
                  </a:path>
                </a:pathLst>
              </a:custGeom>
              <a:solidFill>
                <a:srgbClr val="022E33"/>
              </a:solidFill>
              <a:ln w="8212" cap="flat">
                <a:noFill/>
                <a:prstDash val="solid"/>
                <a:miter/>
              </a:ln>
            </p:spPr>
            <p:txBody>
              <a:bodyPr rtlCol="0" anchor="ctr"/>
              <a:lstStyle/>
              <a:p>
                <a:endParaRPr lang="en-US"/>
              </a:p>
            </p:txBody>
          </p:sp>
          <p:sp>
            <p:nvSpPr>
              <p:cNvPr id="50" name="Freeform: Shape 27">
                <a:extLst>
                  <a:ext uri="{FF2B5EF4-FFF2-40B4-BE49-F238E27FC236}">
                    <a16:creationId xmlns:a16="http://schemas.microsoft.com/office/drawing/2014/main" id="{83CEFC43-47CE-F71A-38BE-57E5CCFC06A9}"/>
                  </a:ext>
                </a:extLst>
              </p:cNvPr>
              <p:cNvSpPr/>
              <p:nvPr/>
            </p:nvSpPr>
            <p:spPr>
              <a:xfrm>
                <a:off x="9081676" y="3438114"/>
                <a:ext cx="484008" cy="567194"/>
              </a:xfrm>
              <a:custGeom>
                <a:avLst/>
                <a:gdLst>
                  <a:gd name="connsiteX0" fmla="*/ 0 w 484008"/>
                  <a:gd name="connsiteY0" fmla="*/ 8869 h 567194"/>
                  <a:gd name="connsiteX1" fmla="*/ 69801 w 484008"/>
                  <a:gd name="connsiteY1" fmla="*/ 8869 h 567194"/>
                  <a:gd name="connsiteX2" fmla="*/ 69801 w 484008"/>
                  <a:gd name="connsiteY2" fmla="*/ 134018 h 567194"/>
                  <a:gd name="connsiteX3" fmla="*/ 282406 w 484008"/>
                  <a:gd name="connsiteY3" fmla="*/ 0 h 567194"/>
                  <a:gd name="connsiteX4" fmla="*/ 484008 w 484008"/>
                  <a:gd name="connsiteY4" fmla="*/ 199385 h 567194"/>
                  <a:gd name="connsiteX5" fmla="*/ 484008 w 484008"/>
                  <a:gd name="connsiteY5" fmla="*/ 567113 h 567194"/>
                  <a:gd name="connsiteX6" fmla="*/ 413140 w 484008"/>
                  <a:gd name="connsiteY6" fmla="*/ 567113 h 567194"/>
                  <a:gd name="connsiteX7" fmla="*/ 413140 w 484008"/>
                  <a:gd name="connsiteY7" fmla="*/ 213837 h 567194"/>
                  <a:gd name="connsiteX8" fmla="*/ 270253 w 484008"/>
                  <a:gd name="connsiteY8" fmla="*/ 63231 h 567194"/>
                  <a:gd name="connsiteX9" fmla="*/ 69801 w 484008"/>
                  <a:gd name="connsiteY9" fmla="*/ 329050 h 567194"/>
                  <a:gd name="connsiteX10" fmla="*/ 69801 w 484008"/>
                  <a:gd name="connsiteY10" fmla="*/ 567195 h 567194"/>
                  <a:gd name="connsiteX11" fmla="*/ 0 w 484008"/>
                  <a:gd name="connsiteY11" fmla="*/ 567195 h 567194"/>
                  <a:gd name="connsiteX12" fmla="*/ 0 w 484008"/>
                  <a:gd name="connsiteY12" fmla="*/ 8869 h 56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008" h="567194">
                    <a:moveTo>
                      <a:pt x="0" y="8869"/>
                    </a:moveTo>
                    <a:lnTo>
                      <a:pt x="69801" y="8869"/>
                    </a:lnTo>
                    <a:lnTo>
                      <a:pt x="69801" y="134018"/>
                    </a:lnTo>
                    <a:cubicBezTo>
                      <a:pt x="103059" y="57565"/>
                      <a:pt x="180579" y="0"/>
                      <a:pt x="282406" y="0"/>
                    </a:cubicBezTo>
                    <a:cubicBezTo>
                      <a:pt x="398687" y="0"/>
                      <a:pt x="484008" y="70869"/>
                      <a:pt x="484008" y="199385"/>
                    </a:cubicBezTo>
                    <a:lnTo>
                      <a:pt x="484008" y="567113"/>
                    </a:lnTo>
                    <a:lnTo>
                      <a:pt x="413140" y="567113"/>
                    </a:lnTo>
                    <a:lnTo>
                      <a:pt x="413140" y="213837"/>
                    </a:lnTo>
                    <a:cubicBezTo>
                      <a:pt x="413140" y="114145"/>
                      <a:pt x="357792" y="63231"/>
                      <a:pt x="270253" y="63231"/>
                    </a:cubicBezTo>
                    <a:cubicBezTo>
                      <a:pt x="148389" y="63231"/>
                      <a:pt x="69801" y="168426"/>
                      <a:pt x="69801" y="329050"/>
                    </a:cubicBezTo>
                    <a:lnTo>
                      <a:pt x="69801" y="567195"/>
                    </a:lnTo>
                    <a:lnTo>
                      <a:pt x="0" y="567195"/>
                    </a:lnTo>
                    <a:lnTo>
                      <a:pt x="0" y="8869"/>
                    </a:lnTo>
                    <a:close/>
                  </a:path>
                </a:pathLst>
              </a:custGeom>
              <a:solidFill>
                <a:srgbClr val="022E33"/>
              </a:solidFill>
              <a:ln w="8212" cap="flat">
                <a:noFill/>
                <a:prstDash val="solid"/>
                <a:miter/>
              </a:ln>
            </p:spPr>
            <p:txBody>
              <a:bodyPr rtlCol="0" anchor="ctr"/>
              <a:lstStyle/>
              <a:p>
                <a:endParaRPr lang="en-US"/>
              </a:p>
            </p:txBody>
          </p:sp>
          <p:sp>
            <p:nvSpPr>
              <p:cNvPr id="51" name="Freeform: Shape 28">
                <a:extLst>
                  <a:ext uri="{FF2B5EF4-FFF2-40B4-BE49-F238E27FC236}">
                    <a16:creationId xmlns:a16="http://schemas.microsoft.com/office/drawing/2014/main" id="{53336379-AF7D-F58F-9BEE-011C15477633}"/>
                  </a:ext>
                </a:extLst>
              </p:cNvPr>
              <p:cNvSpPr/>
              <p:nvPr/>
            </p:nvSpPr>
            <p:spPr>
              <a:xfrm>
                <a:off x="9667429" y="3438114"/>
                <a:ext cx="416424" cy="575981"/>
              </a:xfrm>
              <a:custGeom>
                <a:avLst/>
                <a:gdLst>
                  <a:gd name="connsiteX0" fmla="*/ 82 w 416424"/>
                  <a:gd name="connsiteY0" fmla="*/ 386533 h 575981"/>
                  <a:gd name="connsiteX1" fmla="*/ 72101 w 416424"/>
                  <a:gd name="connsiteY1" fmla="*/ 386533 h 575981"/>
                  <a:gd name="connsiteX2" fmla="*/ 216055 w 416424"/>
                  <a:gd name="connsiteY2" fmla="*/ 513900 h 575981"/>
                  <a:gd name="connsiteX3" fmla="*/ 344489 w 416424"/>
                  <a:gd name="connsiteY3" fmla="*/ 409773 h 575981"/>
                  <a:gd name="connsiteX4" fmla="*/ 15521 w 416424"/>
                  <a:gd name="connsiteY4" fmla="*/ 145104 h 575981"/>
                  <a:gd name="connsiteX5" fmla="*/ 198235 w 416424"/>
                  <a:gd name="connsiteY5" fmla="*/ 0 h 575981"/>
                  <a:gd name="connsiteX6" fmla="*/ 402054 w 416424"/>
                  <a:gd name="connsiteY6" fmla="*/ 161692 h 575981"/>
                  <a:gd name="connsiteX7" fmla="*/ 330036 w 416424"/>
                  <a:gd name="connsiteY7" fmla="*/ 161692 h 575981"/>
                  <a:gd name="connsiteX8" fmla="*/ 198235 w 416424"/>
                  <a:gd name="connsiteY8" fmla="*/ 62000 h 575981"/>
                  <a:gd name="connsiteX9" fmla="*/ 85239 w 416424"/>
                  <a:gd name="connsiteY9" fmla="*/ 142887 h 575981"/>
                  <a:gd name="connsiteX10" fmla="*/ 416425 w 416424"/>
                  <a:gd name="connsiteY10" fmla="*/ 408705 h 575981"/>
                  <a:gd name="connsiteX11" fmla="*/ 215973 w 416424"/>
                  <a:gd name="connsiteY11" fmla="*/ 575981 h 575981"/>
                  <a:gd name="connsiteX12" fmla="*/ 0 w 416424"/>
                  <a:gd name="connsiteY12" fmla="*/ 386615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6424" h="575981">
                    <a:moveTo>
                      <a:pt x="82" y="386533"/>
                    </a:moveTo>
                    <a:lnTo>
                      <a:pt x="72101" y="386533"/>
                    </a:lnTo>
                    <a:cubicBezTo>
                      <a:pt x="78752" y="461836"/>
                      <a:pt x="127449" y="513900"/>
                      <a:pt x="216055" y="513900"/>
                    </a:cubicBezTo>
                    <a:cubicBezTo>
                      <a:pt x="292508" y="513900"/>
                      <a:pt x="344489" y="477357"/>
                      <a:pt x="344489" y="409773"/>
                    </a:cubicBezTo>
                    <a:cubicBezTo>
                      <a:pt x="344489" y="254733"/>
                      <a:pt x="15521" y="348841"/>
                      <a:pt x="15521" y="145104"/>
                    </a:cubicBezTo>
                    <a:cubicBezTo>
                      <a:pt x="15521" y="60932"/>
                      <a:pt x="89756" y="0"/>
                      <a:pt x="198235" y="0"/>
                    </a:cubicBezTo>
                    <a:cubicBezTo>
                      <a:pt x="317882" y="0"/>
                      <a:pt x="388751" y="59782"/>
                      <a:pt x="402054" y="161692"/>
                    </a:cubicBezTo>
                    <a:lnTo>
                      <a:pt x="330036" y="161692"/>
                    </a:lnTo>
                    <a:cubicBezTo>
                      <a:pt x="321167" y="97475"/>
                      <a:pt x="272471" y="62000"/>
                      <a:pt x="198235" y="62000"/>
                    </a:cubicBezTo>
                    <a:cubicBezTo>
                      <a:pt x="134018" y="62000"/>
                      <a:pt x="85239" y="90823"/>
                      <a:pt x="85239" y="142887"/>
                    </a:cubicBezTo>
                    <a:cubicBezTo>
                      <a:pt x="85239" y="285774"/>
                      <a:pt x="416425" y="188298"/>
                      <a:pt x="416425" y="408705"/>
                    </a:cubicBezTo>
                    <a:cubicBezTo>
                      <a:pt x="416425" y="509465"/>
                      <a:pt x="331185" y="575981"/>
                      <a:pt x="215973" y="575981"/>
                    </a:cubicBezTo>
                    <a:cubicBezTo>
                      <a:pt x="73086" y="575981"/>
                      <a:pt x="4435" y="481873"/>
                      <a:pt x="0" y="386615"/>
                    </a:cubicBezTo>
                    <a:close/>
                  </a:path>
                </a:pathLst>
              </a:custGeom>
              <a:solidFill>
                <a:srgbClr val="022E33"/>
              </a:solidFill>
              <a:ln w="821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46010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4" name="Bilde 13">
            <a:extLst>
              <a:ext uri="{FF2B5EF4-FFF2-40B4-BE49-F238E27FC236}">
                <a16:creationId xmlns:a16="http://schemas.microsoft.com/office/drawing/2014/main" id="{8C109D9A-DDF6-50EB-6060-D6488CD7456C}"/>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6" name="Plassholder for tekst 5">
            <a:extLst>
              <a:ext uri="{FF2B5EF4-FFF2-40B4-BE49-F238E27FC236}">
                <a16:creationId xmlns:a16="http://schemas.microsoft.com/office/drawing/2014/main" id="{2AA9A442-D2B2-74D7-B2DE-DF1F141E5DB6}"/>
              </a:ext>
            </a:extLst>
          </p:cNvPr>
          <p:cNvSpPr>
            <a:spLocks noGrp="1"/>
          </p:cNvSpPr>
          <p:nvPr>
            <p:ph type="body" sz="quarter" idx="16" hasCustomPrompt="1"/>
          </p:nvPr>
        </p:nvSpPr>
        <p:spPr>
          <a:xfrm>
            <a:off x="981493" y="2072789"/>
            <a:ext cx="10104020"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8" name="Bilde 17">
            <a:extLst>
              <a:ext uri="{FF2B5EF4-FFF2-40B4-BE49-F238E27FC236}">
                <a16:creationId xmlns:a16="http://schemas.microsoft.com/office/drawing/2014/main" id="{2A94FDF5-1A9F-1EB1-3E32-B48230DFB923}"/>
              </a:ext>
            </a:extLst>
          </p:cNvPr>
          <p:cNvPicPr>
            <a:picLocks noChangeAspect="1"/>
          </p:cNvPicPr>
          <p:nvPr userDrawn="1"/>
        </p:nvPicPr>
        <p:blipFill>
          <a:blip r:embed="rId5">
            <a:alphaModFix amt="40000"/>
          </a:blip>
          <a:stretch>
            <a:fillRect/>
          </a:stretch>
        </p:blipFill>
        <p:spPr>
          <a:xfrm>
            <a:off x="10805098" y="4091087"/>
            <a:ext cx="2091727" cy="2768600"/>
          </a:xfrm>
          <a:prstGeom prst="rect">
            <a:avLst/>
          </a:prstGeom>
        </p:spPr>
      </p:pic>
      <p:sp>
        <p:nvSpPr>
          <p:cNvPr id="19" name="TekstSylinder 18">
            <a:extLst>
              <a:ext uri="{FF2B5EF4-FFF2-40B4-BE49-F238E27FC236}">
                <a16:creationId xmlns:a16="http://schemas.microsoft.com/office/drawing/2014/main" id="{402040AE-AA56-4AC0-D2C7-062D83522292}"/>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3851611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500"/>
                                        <p:tgtEl>
                                          <p:spTgt spid="1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55BAE5AE-F22D-885D-1C63-BD6C0F21CC3F}"/>
              </a:ext>
            </a:extLst>
          </p:cNvPr>
          <p:cNvSpPr>
            <a:spLocks noGrp="1"/>
          </p:cNvSpPr>
          <p:nvPr>
            <p:ph type="body" sz="quarter" idx="16" hasCustomPrompt="1"/>
          </p:nvPr>
        </p:nvSpPr>
        <p:spPr>
          <a:xfrm>
            <a:off x="981493" y="2072789"/>
            <a:ext cx="5957189"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CAE188F2-AD36-FAFF-7D17-BD3ABD31DF54}"/>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1330211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go + payoff - white background">
    <p:spTree>
      <p:nvGrpSpPr>
        <p:cNvPr id="1" name=""/>
        <p:cNvGrpSpPr/>
        <p:nvPr/>
      </p:nvGrpSpPr>
      <p:grpSpPr>
        <a:xfrm>
          <a:off x="0" y="0"/>
          <a:ext cx="0" cy="0"/>
          <a:chOff x="0" y="0"/>
          <a:chExt cx="0" cy="0"/>
        </a:xfrm>
      </p:grpSpPr>
      <p:grpSp>
        <p:nvGrpSpPr>
          <p:cNvPr id="59" name="Gruppe 58">
            <a:extLst>
              <a:ext uri="{FF2B5EF4-FFF2-40B4-BE49-F238E27FC236}">
                <a16:creationId xmlns:a16="http://schemas.microsoft.com/office/drawing/2014/main" id="{DDC1EEC5-14C5-1D81-4B10-0994F6DFA50A}"/>
              </a:ext>
            </a:extLst>
          </p:cNvPr>
          <p:cNvGrpSpPr/>
          <p:nvPr userDrawn="1"/>
        </p:nvGrpSpPr>
        <p:grpSpPr>
          <a:xfrm>
            <a:off x="3269302" y="2946390"/>
            <a:ext cx="5653397" cy="1009825"/>
            <a:chOff x="3486615" y="3161790"/>
            <a:chExt cx="5653397" cy="1009825"/>
          </a:xfrm>
        </p:grpSpPr>
        <p:grpSp>
          <p:nvGrpSpPr>
            <p:cNvPr id="44" name="Gruppe 43">
              <a:extLst>
                <a:ext uri="{FF2B5EF4-FFF2-40B4-BE49-F238E27FC236}">
                  <a16:creationId xmlns:a16="http://schemas.microsoft.com/office/drawing/2014/main" id="{6400029C-54B7-16B3-A0D7-C61870A249EC}"/>
                </a:ext>
              </a:extLst>
            </p:cNvPr>
            <p:cNvGrpSpPr/>
            <p:nvPr userDrawn="1"/>
          </p:nvGrpSpPr>
          <p:grpSpPr>
            <a:xfrm>
              <a:off x="3486615" y="3161790"/>
              <a:ext cx="5494677" cy="508869"/>
              <a:chOff x="1869557" y="3038867"/>
              <a:chExt cx="8450697" cy="782630"/>
            </a:xfrm>
          </p:grpSpPr>
          <p:grpSp>
            <p:nvGrpSpPr>
              <p:cNvPr id="45" name="Graphic 10">
                <a:extLst>
                  <a:ext uri="{FF2B5EF4-FFF2-40B4-BE49-F238E27FC236}">
                    <a16:creationId xmlns:a16="http://schemas.microsoft.com/office/drawing/2014/main" id="{AEDE1645-26CC-2A12-F220-408C1CA2B084}"/>
                  </a:ext>
                </a:extLst>
              </p:cNvPr>
              <p:cNvGrpSpPr/>
              <p:nvPr userDrawn="1"/>
            </p:nvGrpSpPr>
            <p:grpSpPr>
              <a:xfrm>
                <a:off x="1869557" y="3038867"/>
                <a:ext cx="4569287" cy="782630"/>
                <a:chOff x="1869557" y="3038867"/>
                <a:chExt cx="4569287" cy="782630"/>
              </a:xfrm>
              <a:solidFill>
                <a:srgbClr val="01796F"/>
              </a:solidFill>
            </p:grpSpPr>
            <p:sp>
              <p:nvSpPr>
                <p:cNvPr id="52" name="Freeform: Shape 12">
                  <a:extLst>
                    <a:ext uri="{FF2B5EF4-FFF2-40B4-BE49-F238E27FC236}">
                      <a16:creationId xmlns:a16="http://schemas.microsoft.com/office/drawing/2014/main" id="{72A9011B-2DAF-49BF-F1B0-09D88EC3A737}"/>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53" name="Freeform: Shape 13">
                  <a:extLst>
                    <a:ext uri="{FF2B5EF4-FFF2-40B4-BE49-F238E27FC236}">
                      <a16:creationId xmlns:a16="http://schemas.microsoft.com/office/drawing/2014/main" id="{14947B61-CD16-E13C-6246-B0F3245F5921}"/>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54" name="Freeform: Shape 14">
                  <a:extLst>
                    <a:ext uri="{FF2B5EF4-FFF2-40B4-BE49-F238E27FC236}">
                      <a16:creationId xmlns:a16="http://schemas.microsoft.com/office/drawing/2014/main" id="{42C17EC1-77A8-08CB-38B3-15AADA73B9F9}"/>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55" name="Freeform: Shape 15">
                  <a:extLst>
                    <a:ext uri="{FF2B5EF4-FFF2-40B4-BE49-F238E27FC236}">
                      <a16:creationId xmlns:a16="http://schemas.microsoft.com/office/drawing/2014/main" id="{8A0D960C-D026-9075-6EC9-228E6E29F1AB}"/>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56" name="Freeform: Shape 16">
                  <a:extLst>
                    <a:ext uri="{FF2B5EF4-FFF2-40B4-BE49-F238E27FC236}">
                      <a16:creationId xmlns:a16="http://schemas.microsoft.com/office/drawing/2014/main" id="{D545A8F1-E764-7889-569B-B5F2948EE78C}"/>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57" name="Freeform: Shape 17">
                  <a:extLst>
                    <a:ext uri="{FF2B5EF4-FFF2-40B4-BE49-F238E27FC236}">
                      <a16:creationId xmlns:a16="http://schemas.microsoft.com/office/drawing/2014/main" id="{DF105826-8DCD-A2E6-4214-B79139C60BEC}"/>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grpSp>
            <p:nvGrpSpPr>
              <p:cNvPr id="46" name="Graphic 10">
                <a:extLst>
                  <a:ext uri="{FF2B5EF4-FFF2-40B4-BE49-F238E27FC236}">
                    <a16:creationId xmlns:a16="http://schemas.microsoft.com/office/drawing/2014/main" id="{E31A5CBC-BE0F-566C-56EA-99638564C2C9}"/>
                  </a:ext>
                </a:extLst>
              </p:cNvPr>
              <p:cNvGrpSpPr/>
              <p:nvPr userDrawn="1"/>
            </p:nvGrpSpPr>
            <p:grpSpPr>
              <a:xfrm>
                <a:off x="6695031" y="3038867"/>
                <a:ext cx="3625223" cy="782630"/>
                <a:chOff x="6695031" y="3038867"/>
                <a:chExt cx="3625223" cy="782630"/>
              </a:xfrm>
              <a:solidFill>
                <a:srgbClr val="01796F"/>
              </a:solidFill>
            </p:grpSpPr>
            <p:sp>
              <p:nvSpPr>
                <p:cNvPr id="47" name="Freeform: Shape 19">
                  <a:extLst>
                    <a:ext uri="{FF2B5EF4-FFF2-40B4-BE49-F238E27FC236}">
                      <a16:creationId xmlns:a16="http://schemas.microsoft.com/office/drawing/2014/main" id="{2B94F43B-1BEA-DB3F-3176-25D573BE0F08}"/>
                    </a:ext>
                  </a:extLst>
                </p:cNvPr>
                <p:cNvSpPr/>
                <p:nvPr/>
              </p:nvSpPr>
              <p:spPr>
                <a:xfrm>
                  <a:off x="9091809" y="3047615"/>
                  <a:ext cx="573850" cy="773881"/>
                </a:xfrm>
                <a:custGeom>
                  <a:avLst/>
                  <a:gdLst>
                    <a:gd name="connsiteX0" fmla="*/ 0 w 573850"/>
                    <a:gd name="connsiteY0" fmla="*/ 502799 h 773881"/>
                    <a:gd name="connsiteX1" fmla="*/ 0 w 573850"/>
                    <a:gd name="connsiteY1" fmla="*/ 0 h 773881"/>
                    <a:gd name="connsiteX2" fmla="*/ 73238 w 573850"/>
                    <a:gd name="connsiteY2" fmla="*/ 0 h 773881"/>
                    <a:gd name="connsiteX3" fmla="*/ 73238 w 573850"/>
                    <a:gd name="connsiteY3" fmla="*/ 502799 h 773881"/>
                    <a:gd name="connsiteX4" fmla="*/ 287457 w 573850"/>
                    <a:gd name="connsiteY4" fmla="*/ 709392 h 773881"/>
                    <a:gd name="connsiteX5" fmla="*/ 500611 w 573850"/>
                    <a:gd name="connsiteY5" fmla="*/ 502799 h 773881"/>
                    <a:gd name="connsiteX6" fmla="*/ 500611 w 573850"/>
                    <a:gd name="connsiteY6" fmla="*/ 0 h 773881"/>
                    <a:gd name="connsiteX7" fmla="*/ 573850 w 573850"/>
                    <a:gd name="connsiteY7" fmla="*/ 0 h 773881"/>
                    <a:gd name="connsiteX8" fmla="*/ 573850 w 573850"/>
                    <a:gd name="connsiteY8" fmla="*/ 502799 h 773881"/>
                    <a:gd name="connsiteX9" fmla="*/ 287457 w 573850"/>
                    <a:gd name="connsiteY9" fmla="*/ 773882 h 773881"/>
                    <a:gd name="connsiteX10" fmla="*/ 0 w 573850"/>
                    <a:gd name="connsiteY10" fmla="*/ 502799 h 7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3850" h="773881">
                      <a:moveTo>
                        <a:pt x="0" y="502799"/>
                      </a:moveTo>
                      <a:lnTo>
                        <a:pt x="0" y="0"/>
                      </a:lnTo>
                      <a:lnTo>
                        <a:pt x="73238" y="0"/>
                      </a:lnTo>
                      <a:lnTo>
                        <a:pt x="73238" y="502799"/>
                      </a:lnTo>
                      <a:cubicBezTo>
                        <a:pt x="73238" y="624154"/>
                        <a:pt x="161787" y="709392"/>
                        <a:pt x="287457" y="709392"/>
                      </a:cubicBezTo>
                      <a:cubicBezTo>
                        <a:pt x="413127" y="709392"/>
                        <a:pt x="500611" y="624154"/>
                        <a:pt x="500611" y="502799"/>
                      </a:cubicBezTo>
                      <a:lnTo>
                        <a:pt x="500611" y="0"/>
                      </a:lnTo>
                      <a:lnTo>
                        <a:pt x="573850" y="0"/>
                      </a:lnTo>
                      <a:lnTo>
                        <a:pt x="573850" y="502799"/>
                      </a:lnTo>
                      <a:cubicBezTo>
                        <a:pt x="573850" y="662399"/>
                        <a:pt x="456869" y="773882"/>
                        <a:pt x="287457" y="773882"/>
                      </a:cubicBezTo>
                      <a:cubicBezTo>
                        <a:pt x="118045" y="773882"/>
                        <a:pt x="0" y="662399"/>
                        <a:pt x="0" y="502799"/>
                      </a:cubicBezTo>
                      <a:close/>
                    </a:path>
                  </a:pathLst>
                </a:custGeom>
                <a:grpFill/>
                <a:ln w="5908" cap="flat">
                  <a:noFill/>
                  <a:prstDash val="solid"/>
                  <a:miter/>
                </a:ln>
              </p:spPr>
              <p:txBody>
                <a:bodyPr rtlCol="0" anchor="ctr"/>
                <a:lstStyle/>
                <a:p>
                  <a:endParaRPr lang="en-US"/>
                </a:p>
              </p:txBody>
            </p:sp>
            <p:sp>
              <p:nvSpPr>
                <p:cNvPr id="48" name="Freeform: Shape 20">
                  <a:extLst>
                    <a:ext uri="{FF2B5EF4-FFF2-40B4-BE49-F238E27FC236}">
                      <a16:creationId xmlns:a16="http://schemas.microsoft.com/office/drawing/2014/main" id="{8081F523-838D-0A48-2E49-02277756F9DB}"/>
                    </a:ext>
                  </a:extLst>
                </p:cNvPr>
                <p:cNvSpPr/>
                <p:nvPr/>
              </p:nvSpPr>
              <p:spPr>
                <a:xfrm>
                  <a:off x="9796650" y="3047615"/>
                  <a:ext cx="523605" cy="765074"/>
                </a:xfrm>
                <a:custGeom>
                  <a:avLst/>
                  <a:gdLst>
                    <a:gd name="connsiteX0" fmla="*/ 0 w 523605"/>
                    <a:gd name="connsiteY0" fmla="*/ 0 h 765074"/>
                    <a:gd name="connsiteX1" fmla="*/ 288580 w 523605"/>
                    <a:gd name="connsiteY1" fmla="*/ 0 h 765074"/>
                    <a:gd name="connsiteX2" fmla="*/ 523606 w 523605"/>
                    <a:gd name="connsiteY2" fmla="*/ 214218 h 765074"/>
                    <a:gd name="connsiteX3" fmla="*/ 288580 w 523605"/>
                    <a:gd name="connsiteY3" fmla="*/ 428437 h 765074"/>
                    <a:gd name="connsiteX4" fmla="*/ 73238 w 523605"/>
                    <a:gd name="connsiteY4" fmla="*/ 428437 h 765074"/>
                    <a:gd name="connsiteX5" fmla="*/ 73238 w 523605"/>
                    <a:gd name="connsiteY5" fmla="*/ 765075 h 765074"/>
                    <a:gd name="connsiteX6" fmla="*/ 0 w 523605"/>
                    <a:gd name="connsiteY6" fmla="*/ 765075 h 765074"/>
                    <a:gd name="connsiteX7" fmla="*/ 0 w 523605"/>
                    <a:gd name="connsiteY7" fmla="*/ 0 h 765074"/>
                    <a:gd name="connsiteX8" fmla="*/ 283082 w 523605"/>
                    <a:gd name="connsiteY8" fmla="*/ 365070 h 765074"/>
                    <a:gd name="connsiteX9" fmla="*/ 450308 w 523605"/>
                    <a:gd name="connsiteY9" fmla="*/ 214218 h 765074"/>
                    <a:gd name="connsiteX10" fmla="*/ 283082 w 523605"/>
                    <a:gd name="connsiteY10" fmla="*/ 64490 h 765074"/>
                    <a:gd name="connsiteX11" fmla="*/ 73238 w 523605"/>
                    <a:gd name="connsiteY11" fmla="*/ 64490 h 765074"/>
                    <a:gd name="connsiteX12" fmla="*/ 73238 w 523605"/>
                    <a:gd name="connsiteY12" fmla="*/ 365070 h 765074"/>
                    <a:gd name="connsiteX13" fmla="*/ 283082 w 523605"/>
                    <a:gd name="connsiteY13" fmla="*/ 36507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05" h="765074">
                      <a:moveTo>
                        <a:pt x="0" y="0"/>
                      </a:moveTo>
                      <a:lnTo>
                        <a:pt x="288580" y="0"/>
                      </a:lnTo>
                      <a:cubicBezTo>
                        <a:pt x="430683" y="0"/>
                        <a:pt x="523606" y="85238"/>
                        <a:pt x="523606" y="214218"/>
                      </a:cubicBezTo>
                      <a:cubicBezTo>
                        <a:pt x="523606" y="343199"/>
                        <a:pt x="430683" y="428437"/>
                        <a:pt x="288580" y="428437"/>
                      </a:cubicBezTo>
                      <a:lnTo>
                        <a:pt x="73238" y="428437"/>
                      </a:lnTo>
                      <a:lnTo>
                        <a:pt x="73238" y="765075"/>
                      </a:lnTo>
                      <a:lnTo>
                        <a:pt x="0" y="765075"/>
                      </a:lnTo>
                      <a:lnTo>
                        <a:pt x="0" y="0"/>
                      </a:lnTo>
                      <a:close/>
                      <a:moveTo>
                        <a:pt x="283082" y="365070"/>
                      </a:moveTo>
                      <a:cubicBezTo>
                        <a:pt x="384754" y="365070"/>
                        <a:pt x="450308" y="304954"/>
                        <a:pt x="450308" y="214218"/>
                      </a:cubicBezTo>
                      <a:cubicBezTo>
                        <a:pt x="450308" y="123483"/>
                        <a:pt x="384695" y="64490"/>
                        <a:pt x="283082" y="64490"/>
                      </a:cubicBezTo>
                      <a:lnTo>
                        <a:pt x="73238" y="64490"/>
                      </a:lnTo>
                      <a:lnTo>
                        <a:pt x="73238" y="365070"/>
                      </a:lnTo>
                      <a:lnTo>
                        <a:pt x="283082" y="365070"/>
                      </a:lnTo>
                      <a:close/>
                    </a:path>
                  </a:pathLst>
                </a:custGeom>
                <a:grpFill/>
                <a:ln w="5908" cap="flat">
                  <a:noFill/>
                  <a:prstDash val="solid"/>
                  <a:miter/>
                </a:ln>
              </p:spPr>
              <p:txBody>
                <a:bodyPr rtlCol="0" anchor="ctr"/>
                <a:lstStyle/>
                <a:p>
                  <a:endParaRPr lang="en-US"/>
                </a:p>
              </p:txBody>
            </p:sp>
            <p:sp>
              <p:nvSpPr>
                <p:cNvPr id="49" name="Freeform: Shape 21">
                  <a:extLst>
                    <a:ext uri="{FF2B5EF4-FFF2-40B4-BE49-F238E27FC236}">
                      <a16:creationId xmlns:a16="http://schemas.microsoft.com/office/drawing/2014/main" id="{D4FD1A07-6F74-582B-3B0A-CA4DE69A9FDE}"/>
                    </a:ext>
                  </a:extLst>
                </p:cNvPr>
                <p:cNvSpPr/>
                <p:nvPr/>
              </p:nvSpPr>
              <p:spPr>
                <a:xfrm>
                  <a:off x="8205024" y="3038867"/>
                  <a:ext cx="782630" cy="782630"/>
                </a:xfrm>
                <a:custGeom>
                  <a:avLst/>
                  <a:gdLst>
                    <a:gd name="connsiteX0" fmla="*/ 391315 w 782630"/>
                    <a:gd name="connsiteY0" fmla="*/ 73061 h 782630"/>
                    <a:gd name="connsiteX1" fmla="*/ 709569 w 782630"/>
                    <a:gd name="connsiteY1" fmla="*/ 391315 h 782630"/>
                    <a:gd name="connsiteX2" fmla="*/ 391315 w 782630"/>
                    <a:gd name="connsiteY2" fmla="*/ 709569 h 782630"/>
                    <a:gd name="connsiteX3" fmla="*/ 73061 w 782630"/>
                    <a:gd name="connsiteY3" fmla="*/ 391315 h 782630"/>
                    <a:gd name="connsiteX4" fmla="*/ 391315 w 782630"/>
                    <a:gd name="connsiteY4" fmla="*/ 73061 h 782630"/>
                    <a:gd name="connsiteX5" fmla="*/ 391315 w 782630"/>
                    <a:gd name="connsiteY5" fmla="*/ 0 h 782630"/>
                    <a:gd name="connsiteX6" fmla="*/ 0 w 782630"/>
                    <a:gd name="connsiteY6" fmla="*/ 391315 h 782630"/>
                    <a:gd name="connsiteX7" fmla="*/ 391315 w 782630"/>
                    <a:gd name="connsiteY7" fmla="*/ 782630 h 782630"/>
                    <a:gd name="connsiteX8" fmla="*/ 782630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73061"/>
                      </a:moveTo>
                      <a:cubicBezTo>
                        <a:pt x="566816" y="73061"/>
                        <a:pt x="709569" y="215814"/>
                        <a:pt x="709569" y="391315"/>
                      </a:cubicBezTo>
                      <a:cubicBezTo>
                        <a:pt x="709569" y="566816"/>
                        <a:pt x="566816" y="709569"/>
                        <a:pt x="391315" y="709569"/>
                      </a:cubicBezTo>
                      <a:cubicBezTo>
                        <a:pt x="215815" y="709569"/>
                        <a:pt x="73061" y="566816"/>
                        <a:pt x="73061" y="391315"/>
                      </a:cubicBezTo>
                      <a:cubicBezTo>
                        <a:pt x="73061" y="215814"/>
                        <a:pt x="215815" y="73061"/>
                        <a:pt x="391315" y="73061"/>
                      </a:cubicBezTo>
                      <a:moveTo>
                        <a:pt x="391315" y="0"/>
                      </a:moveTo>
                      <a:cubicBezTo>
                        <a:pt x="175205" y="0"/>
                        <a:pt x="0" y="175205"/>
                        <a:pt x="0" y="391315"/>
                      </a:cubicBezTo>
                      <a:cubicBezTo>
                        <a:pt x="0" y="607425"/>
                        <a:pt x="175205" y="782630"/>
                        <a:pt x="391315" y="782630"/>
                      </a:cubicBezTo>
                      <a:cubicBezTo>
                        <a:pt x="607426" y="782630"/>
                        <a:pt x="782630" y="607425"/>
                        <a:pt x="782630" y="391315"/>
                      </a:cubicBezTo>
                      <a:cubicBezTo>
                        <a:pt x="782630" y="175205"/>
                        <a:pt x="607426" y="0"/>
                        <a:pt x="391315" y="0"/>
                      </a:cubicBezTo>
                      <a:lnTo>
                        <a:pt x="391315" y="0"/>
                      </a:lnTo>
                      <a:close/>
                    </a:path>
                  </a:pathLst>
                </a:custGeom>
                <a:grpFill/>
                <a:ln w="5908" cap="flat">
                  <a:noFill/>
                  <a:prstDash val="solid"/>
                  <a:miter/>
                </a:ln>
              </p:spPr>
              <p:txBody>
                <a:bodyPr rtlCol="0" anchor="ctr"/>
                <a:lstStyle/>
                <a:p>
                  <a:endParaRPr lang="en-US"/>
                </a:p>
              </p:txBody>
            </p:sp>
            <p:sp>
              <p:nvSpPr>
                <p:cNvPr id="50" name="Freeform: Shape 22">
                  <a:extLst>
                    <a:ext uri="{FF2B5EF4-FFF2-40B4-BE49-F238E27FC236}">
                      <a16:creationId xmlns:a16="http://schemas.microsoft.com/office/drawing/2014/main" id="{077EC9C9-7256-FB9C-A9E8-FEA441CDF073}"/>
                    </a:ext>
                  </a:extLst>
                </p:cNvPr>
                <p:cNvSpPr/>
                <p:nvPr/>
              </p:nvSpPr>
              <p:spPr>
                <a:xfrm>
                  <a:off x="6695031" y="3038867"/>
                  <a:ext cx="782630" cy="782630"/>
                </a:xfrm>
                <a:custGeom>
                  <a:avLst/>
                  <a:gdLst>
                    <a:gd name="connsiteX0" fmla="*/ 782158 w 782630"/>
                    <a:gd name="connsiteY0" fmla="*/ 373818 h 782630"/>
                    <a:gd name="connsiteX1" fmla="*/ 782631 w 782630"/>
                    <a:gd name="connsiteY1" fmla="*/ 391315 h 782630"/>
                    <a:gd name="connsiteX2" fmla="*/ 779734 w 782630"/>
                    <a:gd name="connsiteY2" fmla="*/ 438131 h 782630"/>
                    <a:gd name="connsiteX3" fmla="*/ 391315 w 782630"/>
                    <a:gd name="connsiteY3" fmla="*/ 782630 h 782630"/>
                    <a:gd name="connsiteX4" fmla="*/ 0 w 782630"/>
                    <a:gd name="connsiteY4" fmla="*/ 391315 h 782630"/>
                    <a:gd name="connsiteX5" fmla="*/ 391315 w 782630"/>
                    <a:gd name="connsiteY5" fmla="*/ 0 h 782630"/>
                    <a:gd name="connsiteX6" fmla="*/ 755499 w 782630"/>
                    <a:gd name="connsiteY6" fmla="*/ 248148 h 782630"/>
                    <a:gd name="connsiteX7" fmla="*/ 675403 w 782630"/>
                    <a:gd name="connsiteY7" fmla="*/ 248148 h 782630"/>
                    <a:gd name="connsiteX8" fmla="*/ 391315 w 782630"/>
                    <a:gd name="connsiteY8" fmla="*/ 73120 h 782630"/>
                    <a:gd name="connsiteX9" fmla="*/ 73061 w 782630"/>
                    <a:gd name="connsiteY9" fmla="*/ 391374 h 782630"/>
                    <a:gd name="connsiteX10" fmla="*/ 391315 w 782630"/>
                    <a:gd name="connsiteY10" fmla="*/ 709628 h 782630"/>
                    <a:gd name="connsiteX11" fmla="*/ 706082 w 782630"/>
                    <a:gd name="connsiteY11" fmla="*/ 438249 h 782630"/>
                    <a:gd name="connsiteX12" fmla="*/ 391315 w 782630"/>
                    <a:gd name="connsiteY12" fmla="*/ 438249 h 782630"/>
                    <a:gd name="connsiteX13" fmla="*/ 391315 w 782630"/>
                    <a:gd name="connsiteY13" fmla="*/ 373937 h 782630"/>
                    <a:gd name="connsiteX14" fmla="*/ 782158 w 782630"/>
                    <a:gd name="connsiteY14" fmla="*/ 373937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630" h="782630">
                      <a:moveTo>
                        <a:pt x="782158" y="373818"/>
                      </a:moveTo>
                      <a:cubicBezTo>
                        <a:pt x="782394" y="379611"/>
                        <a:pt x="782631" y="385463"/>
                        <a:pt x="782631" y="391315"/>
                      </a:cubicBezTo>
                      <a:cubicBezTo>
                        <a:pt x="782631" y="407157"/>
                        <a:pt x="781567" y="422762"/>
                        <a:pt x="779734" y="438131"/>
                      </a:cubicBezTo>
                      <a:cubicBezTo>
                        <a:pt x="756563" y="632134"/>
                        <a:pt x="591584" y="782630"/>
                        <a:pt x="391315" y="782630"/>
                      </a:cubicBezTo>
                      <a:cubicBezTo>
                        <a:pt x="175205" y="782630"/>
                        <a:pt x="0" y="607425"/>
                        <a:pt x="0" y="391315"/>
                      </a:cubicBezTo>
                      <a:cubicBezTo>
                        <a:pt x="0" y="175205"/>
                        <a:pt x="175205" y="0"/>
                        <a:pt x="391315" y="0"/>
                      </a:cubicBezTo>
                      <a:cubicBezTo>
                        <a:pt x="556885" y="0"/>
                        <a:pt x="698279" y="102853"/>
                        <a:pt x="755499" y="248148"/>
                      </a:cubicBezTo>
                      <a:lnTo>
                        <a:pt x="675403" y="248148"/>
                      </a:lnTo>
                      <a:cubicBezTo>
                        <a:pt x="622912" y="144408"/>
                        <a:pt x="515330" y="73120"/>
                        <a:pt x="391315" y="73120"/>
                      </a:cubicBezTo>
                      <a:cubicBezTo>
                        <a:pt x="215814" y="73120"/>
                        <a:pt x="73061" y="215874"/>
                        <a:pt x="73061" y="391374"/>
                      </a:cubicBezTo>
                      <a:cubicBezTo>
                        <a:pt x="73061" y="566875"/>
                        <a:pt x="215814" y="709628"/>
                        <a:pt x="391315" y="709628"/>
                      </a:cubicBezTo>
                      <a:cubicBezTo>
                        <a:pt x="550856" y="709628"/>
                        <a:pt x="683383" y="591584"/>
                        <a:pt x="706082" y="438249"/>
                      </a:cubicBezTo>
                      <a:lnTo>
                        <a:pt x="391315" y="438249"/>
                      </a:lnTo>
                      <a:lnTo>
                        <a:pt x="391315" y="373937"/>
                      </a:lnTo>
                      <a:lnTo>
                        <a:pt x="782158" y="373937"/>
                      </a:lnTo>
                      <a:close/>
                    </a:path>
                  </a:pathLst>
                </a:custGeom>
                <a:grpFill/>
                <a:ln w="5908" cap="flat">
                  <a:noFill/>
                  <a:prstDash val="solid"/>
                  <a:miter/>
                </a:ln>
              </p:spPr>
              <p:txBody>
                <a:bodyPr rtlCol="0" anchor="ctr"/>
                <a:lstStyle/>
                <a:p>
                  <a:endParaRPr lang="en-US"/>
                </a:p>
              </p:txBody>
            </p:sp>
            <p:sp>
              <p:nvSpPr>
                <p:cNvPr id="51" name="Freeform: Shape 23">
                  <a:extLst>
                    <a:ext uri="{FF2B5EF4-FFF2-40B4-BE49-F238E27FC236}">
                      <a16:creationId xmlns:a16="http://schemas.microsoft.com/office/drawing/2014/main" id="{56D4AE69-A81E-C75E-1F00-DF3BCCB38DE6}"/>
                    </a:ext>
                  </a:extLst>
                </p:cNvPr>
                <p:cNvSpPr/>
                <p:nvPr/>
              </p:nvSpPr>
              <p:spPr>
                <a:xfrm>
                  <a:off x="7605165" y="3047615"/>
                  <a:ext cx="568471" cy="765133"/>
                </a:xfrm>
                <a:custGeom>
                  <a:avLst/>
                  <a:gdLst>
                    <a:gd name="connsiteX0" fmla="*/ 568471 w 568471"/>
                    <a:gd name="connsiteY0" fmla="*/ 765134 h 765133"/>
                    <a:gd name="connsiteX1" fmla="*/ 348992 w 568471"/>
                    <a:gd name="connsiteY1" fmla="*/ 422644 h 765133"/>
                    <a:gd name="connsiteX2" fmla="*/ 523606 w 568471"/>
                    <a:gd name="connsiteY2" fmla="*/ 214218 h 765133"/>
                    <a:gd name="connsiteX3" fmla="*/ 288580 w 568471"/>
                    <a:gd name="connsiteY3" fmla="*/ 0 h 765133"/>
                    <a:gd name="connsiteX4" fmla="*/ 0 w 568471"/>
                    <a:gd name="connsiteY4" fmla="*/ 0 h 765133"/>
                    <a:gd name="connsiteX5" fmla="*/ 0 w 568471"/>
                    <a:gd name="connsiteY5" fmla="*/ 765134 h 765133"/>
                    <a:gd name="connsiteX6" fmla="*/ 73239 w 568471"/>
                    <a:gd name="connsiteY6" fmla="*/ 765134 h 765133"/>
                    <a:gd name="connsiteX7" fmla="*/ 73239 w 568471"/>
                    <a:gd name="connsiteY7" fmla="*/ 428496 h 765133"/>
                    <a:gd name="connsiteX8" fmla="*/ 270552 w 568471"/>
                    <a:gd name="connsiteY8" fmla="*/ 428496 h 765133"/>
                    <a:gd name="connsiteX9" fmla="*/ 480987 w 568471"/>
                    <a:gd name="connsiteY9" fmla="*/ 765134 h 765133"/>
                    <a:gd name="connsiteX10" fmla="*/ 568412 w 568471"/>
                    <a:gd name="connsiteY10" fmla="*/ 765134 h 765133"/>
                    <a:gd name="connsiteX11" fmla="*/ 73298 w 568471"/>
                    <a:gd name="connsiteY11" fmla="*/ 64490 h 765133"/>
                    <a:gd name="connsiteX12" fmla="*/ 283142 w 568471"/>
                    <a:gd name="connsiteY12" fmla="*/ 64490 h 765133"/>
                    <a:gd name="connsiteX13" fmla="*/ 450367 w 568471"/>
                    <a:gd name="connsiteY13" fmla="*/ 214218 h 765133"/>
                    <a:gd name="connsiteX14" fmla="*/ 283142 w 568471"/>
                    <a:gd name="connsiteY14" fmla="*/ 365070 h 765133"/>
                    <a:gd name="connsiteX15" fmla="*/ 73298 w 568471"/>
                    <a:gd name="connsiteY15" fmla="*/ 365070 h 765133"/>
                    <a:gd name="connsiteX16" fmla="*/ 73298 w 568471"/>
                    <a:gd name="connsiteY16" fmla="*/ 6449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471" h="765133">
                      <a:moveTo>
                        <a:pt x="568471" y="765134"/>
                      </a:moveTo>
                      <a:lnTo>
                        <a:pt x="348992" y="422644"/>
                      </a:lnTo>
                      <a:cubicBezTo>
                        <a:pt x="456397" y="401660"/>
                        <a:pt x="523606" y="323870"/>
                        <a:pt x="523606" y="214218"/>
                      </a:cubicBezTo>
                      <a:cubicBezTo>
                        <a:pt x="523606" y="85238"/>
                        <a:pt x="430684" y="0"/>
                        <a:pt x="288580" y="0"/>
                      </a:cubicBezTo>
                      <a:lnTo>
                        <a:pt x="0" y="0"/>
                      </a:lnTo>
                      <a:lnTo>
                        <a:pt x="0" y="765134"/>
                      </a:lnTo>
                      <a:lnTo>
                        <a:pt x="73239" y="765134"/>
                      </a:lnTo>
                      <a:lnTo>
                        <a:pt x="73239" y="428496"/>
                      </a:lnTo>
                      <a:lnTo>
                        <a:pt x="270552" y="428496"/>
                      </a:lnTo>
                      <a:lnTo>
                        <a:pt x="480987" y="765134"/>
                      </a:lnTo>
                      <a:lnTo>
                        <a:pt x="568412" y="765134"/>
                      </a:lnTo>
                      <a:close/>
                      <a:moveTo>
                        <a:pt x="73298" y="64490"/>
                      </a:moveTo>
                      <a:lnTo>
                        <a:pt x="283142" y="64490"/>
                      </a:lnTo>
                      <a:cubicBezTo>
                        <a:pt x="384813" y="64490"/>
                        <a:pt x="450367" y="124606"/>
                        <a:pt x="450367" y="214218"/>
                      </a:cubicBezTo>
                      <a:cubicBezTo>
                        <a:pt x="450367" y="303831"/>
                        <a:pt x="384754" y="365070"/>
                        <a:pt x="283142" y="365070"/>
                      </a:cubicBezTo>
                      <a:lnTo>
                        <a:pt x="73298" y="365070"/>
                      </a:lnTo>
                      <a:lnTo>
                        <a:pt x="73298" y="64490"/>
                      </a:lnTo>
                      <a:close/>
                    </a:path>
                  </a:pathLst>
                </a:custGeom>
                <a:grpFill/>
                <a:ln w="5908" cap="flat">
                  <a:noFill/>
                  <a:prstDash val="solid"/>
                  <a:miter/>
                </a:ln>
              </p:spPr>
              <p:txBody>
                <a:bodyPr rtlCol="0" anchor="ctr"/>
                <a:lstStyle/>
                <a:p>
                  <a:endParaRPr lang="en-US"/>
                </a:p>
              </p:txBody>
            </p:sp>
          </p:grpSp>
        </p:grpSp>
        <p:sp>
          <p:nvSpPr>
            <p:cNvPr id="58" name="TekstSylinder 57">
              <a:extLst>
                <a:ext uri="{FF2B5EF4-FFF2-40B4-BE49-F238E27FC236}">
                  <a16:creationId xmlns:a16="http://schemas.microsoft.com/office/drawing/2014/main" id="{5F2C34F1-BD69-BA7F-7870-8AA126B4E7E8}"/>
                </a:ext>
              </a:extLst>
            </p:cNvPr>
            <p:cNvSpPr txBox="1"/>
            <p:nvPr userDrawn="1"/>
          </p:nvSpPr>
          <p:spPr>
            <a:xfrm>
              <a:off x="4866085" y="3771505"/>
              <a:ext cx="4273927" cy="400110"/>
            </a:xfrm>
            <a:prstGeom prst="rect">
              <a:avLst/>
            </a:prstGeom>
            <a:noFill/>
          </p:spPr>
          <p:txBody>
            <a:bodyPr wrap="square" rtlCol="0">
              <a:spAutoFit/>
            </a:bodyPr>
            <a:lstStyle/>
            <a:p>
              <a:r>
                <a:rPr lang="nb-NO" sz="2000">
                  <a:solidFill>
                    <a:schemeClr val="tx2"/>
                  </a:solidFill>
                  <a:latin typeface="Haffer" pitchFamily="2" charset="77"/>
                  <a:cs typeface="Haffer" pitchFamily="2" charset="77"/>
                </a:rPr>
                <a:t>– at </a:t>
              </a:r>
              <a:r>
                <a:rPr lang="nb-NO" sz="2000" err="1">
                  <a:solidFill>
                    <a:schemeClr val="tx2"/>
                  </a:solidFill>
                  <a:latin typeface="Haffer" pitchFamily="2" charset="77"/>
                  <a:cs typeface="Haffer" pitchFamily="2" charset="77"/>
                </a:rPr>
                <a:t>the</a:t>
              </a:r>
              <a:r>
                <a:rPr lang="nb-NO" sz="2000">
                  <a:solidFill>
                    <a:schemeClr val="tx2"/>
                  </a:solidFill>
                  <a:latin typeface="Haffer" pitchFamily="2" charset="77"/>
                  <a:cs typeface="Haffer" pitchFamily="2" charset="77"/>
                </a:rPr>
                <a:t> forefront </a:t>
              </a:r>
              <a:r>
                <a:rPr lang="nb-NO" sz="2000" err="1">
                  <a:solidFill>
                    <a:schemeClr val="tx2"/>
                  </a:solidFill>
                  <a:latin typeface="Haffer" pitchFamily="2" charset="77"/>
                  <a:cs typeface="Haffer" pitchFamily="2" charset="77"/>
                </a:rPr>
                <a:t>of</a:t>
              </a:r>
              <a:r>
                <a:rPr lang="nb-NO" sz="2000">
                  <a:solidFill>
                    <a:schemeClr val="tx2"/>
                  </a:solidFill>
                  <a:latin typeface="Haffer" pitchFamily="2" charset="77"/>
                  <a:cs typeface="Haffer" pitchFamily="2" charset="77"/>
                </a:rPr>
                <a:t> </a:t>
              </a:r>
              <a:r>
                <a:rPr lang="nb-NO" sz="2000" err="1">
                  <a:solidFill>
                    <a:schemeClr val="tx2"/>
                  </a:solidFill>
                  <a:latin typeface="Haffer" pitchFamily="2" charset="77"/>
                  <a:cs typeface="Haffer" pitchFamily="2" charset="77"/>
                </a:rPr>
                <a:t>energy</a:t>
              </a:r>
              <a:r>
                <a:rPr lang="nb-NO" sz="2000">
                  <a:solidFill>
                    <a:schemeClr val="tx2"/>
                  </a:solidFill>
                  <a:latin typeface="Haffer" pitchFamily="2" charset="77"/>
                  <a:cs typeface="Haffer" pitchFamily="2" charset="77"/>
                </a:rPr>
                <a:t> </a:t>
              </a:r>
              <a:r>
                <a:rPr lang="nb-NO" sz="2000" err="1">
                  <a:solidFill>
                    <a:schemeClr val="tx2"/>
                  </a:solidFill>
                  <a:latin typeface="Haffer" pitchFamily="2" charset="77"/>
                  <a:cs typeface="Haffer" pitchFamily="2" charset="77"/>
                </a:rPr>
                <a:t>markets</a:t>
              </a:r>
              <a:endParaRPr lang="nb-NO" sz="2000">
                <a:solidFill>
                  <a:schemeClr val="tx2"/>
                </a:solidFill>
                <a:latin typeface="Haffer" pitchFamily="2" charset="77"/>
                <a:cs typeface="Haffer" pitchFamily="2" charset="77"/>
              </a:endParaRPr>
            </a:p>
          </p:txBody>
        </p:sp>
      </p:grpSp>
    </p:spTree>
    <p:extLst>
      <p:ext uri="{BB962C8B-B14F-4D97-AF65-F5344CB8AC3E}">
        <p14:creationId xmlns:p14="http://schemas.microsoft.com/office/powerpoint/2010/main" val="8635632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BA265EDC-1F39-AFC6-3A79-0A978E063B65}"/>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2" name="Bilde 11">
            <a:extLst>
              <a:ext uri="{FF2B5EF4-FFF2-40B4-BE49-F238E27FC236}">
                <a16:creationId xmlns:a16="http://schemas.microsoft.com/office/drawing/2014/main" id="{0E55D9D3-F9CB-FDE3-C4E4-F20A5D52E06A}"/>
              </a:ext>
            </a:extLst>
          </p:cNvPr>
          <p:cNvPicPr>
            <a:picLocks noChangeAspect="1"/>
          </p:cNvPicPr>
          <p:nvPr userDrawn="1"/>
        </p:nvPicPr>
        <p:blipFill>
          <a:blip r:embed="rId2">
            <a:alphaModFix amt="40000"/>
          </a:blip>
          <a:stretch>
            <a:fillRect/>
          </a:stretch>
        </p:blipFill>
        <p:spPr>
          <a:xfrm>
            <a:off x="10805098" y="4091087"/>
            <a:ext cx="2091727" cy="2768600"/>
          </a:xfrm>
          <a:prstGeom prst="rect">
            <a:avLst/>
          </a:prstGeom>
        </p:spPr>
      </p:pic>
      <p:pic>
        <p:nvPicPr>
          <p:cNvPr id="13" name="Bilde 12">
            <a:extLst>
              <a:ext uri="{FF2B5EF4-FFF2-40B4-BE49-F238E27FC236}">
                <a16:creationId xmlns:a16="http://schemas.microsoft.com/office/drawing/2014/main" id="{B445DB7C-82F5-3E6A-D166-1B92F8513E13}"/>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4" name="TekstSylinder 13">
            <a:extLst>
              <a:ext uri="{FF2B5EF4-FFF2-40B4-BE49-F238E27FC236}">
                <a16:creationId xmlns:a16="http://schemas.microsoft.com/office/drawing/2014/main" id="{6DB4B2A3-3813-3375-6030-F9CD261CDEFC}"/>
              </a:ext>
            </a:extLst>
          </p:cNvPr>
          <p:cNvSpPr txBox="1"/>
          <p:nvPr userDrawn="1"/>
        </p:nvSpPr>
        <p:spPr>
          <a:xfrm>
            <a:off x="56335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1813296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D5B8F4EF-18E9-14E2-0C9E-86DDDF9F2D12}"/>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A7E3E140-7C94-FD9E-60F2-7FDEE362C14A}"/>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3945696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ontel Markedplace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grpSp>
        <p:nvGrpSpPr>
          <p:cNvPr id="34" name="Gruppe 33">
            <a:extLst>
              <a:ext uri="{FF2B5EF4-FFF2-40B4-BE49-F238E27FC236}">
                <a16:creationId xmlns:a16="http://schemas.microsoft.com/office/drawing/2014/main" id="{65B905BD-E06E-39A5-2A9A-BE4AF14AF8CD}"/>
              </a:ext>
            </a:extLst>
          </p:cNvPr>
          <p:cNvGrpSpPr/>
          <p:nvPr userDrawn="1"/>
        </p:nvGrpSpPr>
        <p:grpSpPr>
          <a:xfrm>
            <a:off x="1467857" y="2279376"/>
            <a:ext cx="5690172" cy="1222106"/>
            <a:chOff x="1737360" y="2493122"/>
            <a:chExt cx="8718236" cy="1872458"/>
          </a:xfrm>
        </p:grpSpPr>
        <p:grpSp>
          <p:nvGrpSpPr>
            <p:cNvPr id="35" name="Graphic 3">
              <a:extLst>
                <a:ext uri="{FF2B5EF4-FFF2-40B4-BE49-F238E27FC236}">
                  <a16:creationId xmlns:a16="http://schemas.microsoft.com/office/drawing/2014/main" id="{B45D6F03-EAC5-18DB-7EFE-7BFF311A1E49}"/>
                </a:ext>
              </a:extLst>
            </p:cNvPr>
            <p:cNvGrpSpPr/>
            <p:nvPr/>
          </p:nvGrpSpPr>
          <p:grpSpPr>
            <a:xfrm>
              <a:off x="1737360" y="2493122"/>
              <a:ext cx="1872457" cy="1872458"/>
              <a:chOff x="1737360" y="2493122"/>
              <a:chExt cx="1872457" cy="1872458"/>
            </a:xfrm>
          </p:grpSpPr>
          <p:sp>
            <p:nvSpPr>
              <p:cNvPr id="55" name="Freeform: Shape 7">
                <a:extLst>
                  <a:ext uri="{FF2B5EF4-FFF2-40B4-BE49-F238E27FC236}">
                    <a16:creationId xmlns:a16="http://schemas.microsoft.com/office/drawing/2014/main" id="{2375A116-1F6C-6AE9-D335-9ACCFD2539EC}"/>
                  </a:ext>
                </a:extLst>
              </p:cNvPr>
              <p:cNvSpPr/>
              <p:nvPr/>
            </p:nvSpPr>
            <p:spPr>
              <a:xfrm>
                <a:off x="1737360" y="2493122"/>
                <a:ext cx="1872457" cy="1872458"/>
              </a:xfrm>
              <a:custGeom>
                <a:avLst/>
                <a:gdLst>
                  <a:gd name="connsiteX0" fmla="*/ 1872458 w 1872457"/>
                  <a:gd name="connsiteY0" fmla="*/ 936229 h 1872458"/>
                  <a:gd name="connsiteX1" fmla="*/ 936229 w 1872457"/>
                  <a:gd name="connsiteY1" fmla="*/ 1872458 h 1872458"/>
                  <a:gd name="connsiteX2" fmla="*/ 0 w 1872457"/>
                  <a:gd name="connsiteY2" fmla="*/ 936229 h 1872458"/>
                  <a:gd name="connsiteX3" fmla="*/ 936229 w 1872457"/>
                  <a:gd name="connsiteY3" fmla="*/ 0 h 1872458"/>
                  <a:gd name="connsiteX4" fmla="*/ 1872458 w 1872457"/>
                  <a:gd name="connsiteY4" fmla="*/ 936229 h 187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457" h="1872458">
                    <a:moveTo>
                      <a:pt x="1872458" y="936229"/>
                    </a:moveTo>
                    <a:cubicBezTo>
                      <a:pt x="1872458" y="1453294"/>
                      <a:pt x="1453294" y="1872458"/>
                      <a:pt x="936229" y="1872458"/>
                    </a:cubicBezTo>
                    <a:cubicBezTo>
                      <a:pt x="419164" y="1872458"/>
                      <a:pt x="0" y="1453294"/>
                      <a:pt x="0" y="936229"/>
                    </a:cubicBezTo>
                    <a:cubicBezTo>
                      <a:pt x="0" y="419164"/>
                      <a:pt x="419164" y="0"/>
                      <a:pt x="936229" y="0"/>
                    </a:cubicBezTo>
                    <a:cubicBezTo>
                      <a:pt x="1453294" y="0"/>
                      <a:pt x="1872458" y="419164"/>
                      <a:pt x="1872458" y="936229"/>
                    </a:cubicBezTo>
                    <a:close/>
                  </a:path>
                </a:pathLst>
              </a:custGeom>
              <a:solidFill>
                <a:srgbClr val="022E33"/>
              </a:solidFill>
              <a:ln w="8786" cap="flat">
                <a:noFill/>
                <a:prstDash val="solid"/>
                <a:miter/>
              </a:ln>
            </p:spPr>
            <p:txBody>
              <a:bodyPr rtlCol="0" anchor="ctr"/>
              <a:lstStyle/>
              <a:p>
                <a:endParaRPr lang="en-US"/>
              </a:p>
            </p:txBody>
          </p:sp>
          <p:grpSp>
            <p:nvGrpSpPr>
              <p:cNvPr id="56" name="Graphic 3">
                <a:extLst>
                  <a:ext uri="{FF2B5EF4-FFF2-40B4-BE49-F238E27FC236}">
                    <a16:creationId xmlns:a16="http://schemas.microsoft.com/office/drawing/2014/main" id="{C97A1549-017D-D1B4-415C-2F94E850CD25}"/>
                  </a:ext>
                </a:extLst>
              </p:cNvPr>
              <p:cNvGrpSpPr/>
              <p:nvPr/>
            </p:nvGrpSpPr>
            <p:grpSpPr>
              <a:xfrm>
                <a:off x="2120322" y="3034261"/>
                <a:ext cx="1106619" cy="790179"/>
                <a:chOff x="2120322" y="3034261"/>
                <a:chExt cx="1106619" cy="790179"/>
              </a:xfrm>
              <a:solidFill>
                <a:srgbClr val="FFFFFF"/>
              </a:solidFill>
            </p:grpSpPr>
            <p:sp>
              <p:nvSpPr>
                <p:cNvPr id="57" name="Freeform: Shape 9">
                  <a:extLst>
                    <a:ext uri="{FF2B5EF4-FFF2-40B4-BE49-F238E27FC236}">
                      <a16:creationId xmlns:a16="http://schemas.microsoft.com/office/drawing/2014/main" id="{76B56077-317D-1AE8-D2A8-F08C8464CCD1}"/>
                    </a:ext>
                  </a:extLst>
                </p:cNvPr>
                <p:cNvSpPr/>
                <p:nvPr/>
              </p:nvSpPr>
              <p:spPr>
                <a:xfrm>
                  <a:off x="2436587" y="3043021"/>
                  <a:ext cx="790354" cy="781418"/>
                </a:xfrm>
                <a:custGeom>
                  <a:avLst/>
                  <a:gdLst>
                    <a:gd name="connsiteX0" fmla="*/ 702567 w 790354"/>
                    <a:gd name="connsiteY0" fmla="*/ 138080 h 781418"/>
                    <a:gd name="connsiteX1" fmla="*/ 482878 w 790354"/>
                    <a:gd name="connsiteY1" fmla="*/ 994 h 781418"/>
                    <a:gd name="connsiteX2" fmla="*/ 435864 w 790354"/>
                    <a:gd name="connsiteY2" fmla="*/ 30608 h 781418"/>
                    <a:gd name="connsiteX3" fmla="*/ 465478 w 790354"/>
                    <a:gd name="connsiteY3" fmla="*/ 77621 h 781418"/>
                    <a:gd name="connsiteX4" fmla="*/ 641406 w 790354"/>
                    <a:gd name="connsiteY4" fmla="*/ 187466 h 781418"/>
                    <a:gd name="connsiteX5" fmla="*/ 711618 w 790354"/>
                    <a:gd name="connsiteY5" fmla="*/ 386329 h 781418"/>
                    <a:gd name="connsiteX6" fmla="*/ 395090 w 790354"/>
                    <a:gd name="connsiteY6" fmla="*/ 702858 h 781418"/>
                    <a:gd name="connsiteX7" fmla="*/ 78561 w 790354"/>
                    <a:gd name="connsiteY7" fmla="*/ 386329 h 781418"/>
                    <a:gd name="connsiteX8" fmla="*/ 123553 w 790354"/>
                    <a:gd name="connsiteY8" fmla="*/ 223583 h 781418"/>
                    <a:gd name="connsiteX9" fmla="*/ 110108 w 790354"/>
                    <a:gd name="connsiteY9" fmla="*/ 169627 h 781418"/>
                    <a:gd name="connsiteX10" fmla="*/ 56153 w 790354"/>
                    <a:gd name="connsiteY10" fmla="*/ 183072 h 781418"/>
                    <a:gd name="connsiteX11" fmla="*/ 0 w 790354"/>
                    <a:gd name="connsiteY11" fmla="*/ 386241 h 781418"/>
                    <a:gd name="connsiteX12" fmla="*/ 115732 w 790354"/>
                    <a:gd name="connsiteY12" fmla="*/ 665686 h 781418"/>
                    <a:gd name="connsiteX13" fmla="*/ 395178 w 790354"/>
                    <a:gd name="connsiteY13" fmla="*/ 781419 h 781418"/>
                    <a:gd name="connsiteX14" fmla="*/ 674623 w 790354"/>
                    <a:gd name="connsiteY14" fmla="*/ 665686 h 781418"/>
                    <a:gd name="connsiteX15" fmla="*/ 790355 w 790354"/>
                    <a:gd name="connsiteY15" fmla="*/ 386241 h 781418"/>
                    <a:gd name="connsiteX16" fmla="*/ 702655 w 790354"/>
                    <a:gd name="connsiteY16" fmla="*/ 137992 h 78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354" h="781418">
                      <a:moveTo>
                        <a:pt x="702567" y="138080"/>
                      </a:moveTo>
                      <a:cubicBezTo>
                        <a:pt x="646854" y="69185"/>
                        <a:pt x="568820" y="20502"/>
                        <a:pt x="482878" y="994"/>
                      </a:cubicBezTo>
                      <a:cubicBezTo>
                        <a:pt x="461700" y="-3840"/>
                        <a:pt x="440609" y="9430"/>
                        <a:pt x="435864" y="30608"/>
                      </a:cubicBezTo>
                      <a:cubicBezTo>
                        <a:pt x="431031" y="51786"/>
                        <a:pt x="444300" y="72876"/>
                        <a:pt x="465478" y="77621"/>
                      </a:cubicBezTo>
                      <a:cubicBezTo>
                        <a:pt x="534285" y="93263"/>
                        <a:pt x="596765" y="132280"/>
                        <a:pt x="641406" y="187466"/>
                      </a:cubicBezTo>
                      <a:cubicBezTo>
                        <a:pt x="687365" y="244322"/>
                        <a:pt x="711618" y="313041"/>
                        <a:pt x="711618" y="386329"/>
                      </a:cubicBezTo>
                      <a:cubicBezTo>
                        <a:pt x="711618" y="560850"/>
                        <a:pt x="569611" y="702858"/>
                        <a:pt x="395090" y="702858"/>
                      </a:cubicBezTo>
                      <a:cubicBezTo>
                        <a:pt x="220568" y="702858"/>
                        <a:pt x="78561" y="560850"/>
                        <a:pt x="78561" y="386329"/>
                      </a:cubicBezTo>
                      <a:cubicBezTo>
                        <a:pt x="78561" y="328858"/>
                        <a:pt x="94115" y="272618"/>
                        <a:pt x="123553" y="223583"/>
                      </a:cubicBezTo>
                      <a:cubicBezTo>
                        <a:pt x="134714" y="204953"/>
                        <a:pt x="128738" y="180787"/>
                        <a:pt x="110108" y="169627"/>
                      </a:cubicBezTo>
                      <a:cubicBezTo>
                        <a:pt x="91479" y="158467"/>
                        <a:pt x="67313" y="164443"/>
                        <a:pt x="56153" y="183072"/>
                      </a:cubicBezTo>
                      <a:cubicBezTo>
                        <a:pt x="19421" y="244234"/>
                        <a:pt x="0" y="314535"/>
                        <a:pt x="0" y="386241"/>
                      </a:cubicBezTo>
                      <a:cubicBezTo>
                        <a:pt x="0" y="491780"/>
                        <a:pt x="41126" y="590992"/>
                        <a:pt x="115732" y="665686"/>
                      </a:cubicBezTo>
                      <a:cubicBezTo>
                        <a:pt x="190339" y="740293"/>
                        <a:pt x="289639" y="781419"/>
                        <a:pt x="395178" y="781419"/>
                      </a:cubicBezTo>
                      <a:cubicBezTo>
                        <a:pt x="500716" y="781419"/>
                        <a:pt x="599928" y="740293"/>
                        <a:pt x="674623" y="665686"/>
                      </a:cubicBezTo>
                      <a:cubicBezTo>
                        <a:pt x="749229" y="591080"/>
                        <a:pt x="790355" y="491780"/>
                        <a:pt x="790355" y="386241"/>
                      </a:cubicBezTo>
                      <a:cubicBezTo>
                        <a:pt x="790355" y="296081"/>
                        <a:pt x="759159" y="207941"/>
                        <a:pt x="702655" y="137992"/>
                      </a:cubicBezTo>
                      <a:close/>
                    </a:path>
                  </a:pathLst>
                </a:custGeom>
                <a:solidFill>
                  <a:srgbClr val="A3EDE3"/>
                </a:solidFill>
                <a:ln w="8786" cap="flat">
                  <a:noFill/>
                  <a:prstDash val="solid"/>
                  <a:miter/>
                </a:ln>
              </p:spPr>
              <p:txBody>
                <a:bodyPr rtlCol="0" anchor="ctr"/>
                <a:lstStyle/>
                <a:p>
                  <a:endParaRPr lang="en-US"/>
                </a:p>
              </p:txBody>
            </p:sp>
            <p:sp>
              <p:nvSpPr>
                <p:cNvPr id="58" name="Freeform: Shape 10">
                  <a:extLst>
                    <a:ext uri="{FF2B5EF4-FFF2-40B4-BE49-F238E27FC236}">
                      <a16:creationId xmlns:a16="http://schemas.microsoft.com/office/drawing/2014/main" id="{05D53F7A-DE1D-057A-921A-69047117F56E}"/>
                    </a:ext>
                  </a:extLst>
                </p:cNvPr>
                <p:cNvSpPr/>
                <p:nvPr/>
              </p:nvSpPr>
              <p:spPr>
                <a:xfrm>
                  <a:off x="2120322" y="3034261"/>
                  <a:ext cx="790355" cy="781479"/>
                </a:xfrm>
                <a:custGeom>
                  <a:avLst/>
                  <a:gdLst>
                    <a:gd name="connsiteX0" fmla="*/ 324877 w 790355"/>
                    <a:gd name="connsiteY0" fmla="*/ 703797 h 781479"/>
                    <a:gd name="connsiteX1" fmla="*/ 148949 w 790355"/>
                    <a:gd name="connsiteY1" fmla="*/ 593953 h 781479"/>
                    <a:gd name="connsiteX2" fmla="*/ 78737 w 790355"/>
                    <a:gd name="connsiteY2" fmla="*/ 395090 h 781479"/>
                    <a:gd name="connsiteX3" fmla="*/ 395265 w 790355"/>
                    <a:gd name="connsiteY3" fmla="*/ 78561 h 781479"/>
                    <a:gd name="connsiteX4" fmla="*/ 711794 w 790355"/>
                    <a:gd name="connsiteY4" fmla="*/ 395090 h 781479"/>
                    <a:gd name="connsiteX5" fmla="*/ 666802 w 790355"/>
                    <a:gd name="connsiteY5" fmla="*/ 557836 h 781479"/>
                    <a:gd name="connsiteX6" fmla="*/ 680247 w 790355"/>
                    <a:gd name="connsiteY6" fmla="*/ 611791 h 781479"/>
                    <a:gd name="connsiteX7" fmla="*/ 734202 w 790355"/>
                    <a:gd name="connsiteY7" fmla="*/ 598346 h 781479"/>
                    <a:gd name="connsiteX8" fmla="*/ 790355 w 790355"/>
                    <a:gd name="connsiteY8" fmla="*/ 395178 h 781479"/>
                    <a:gd name="connsiteX9" fmla="*/ 674623 w 790355"/>
                    <a:gd name="connsiteY9" fmla="*/ 115732 h 781479"/>
                    <a:gd name="connsiteX10" fmla="*/ 395178 w 790355"/>
                    <a:gd name="connsiteY10" fmla="*/ 0 h 781479"/>
                    <a:gd name="connsiteX11" fmla="*/ 115732 w 790355"/>
                    <a:gd name="connsiteY11" fmla="*/ 115732 h 781479"/>
                    <a:gd name="connsiteX12" fmla="*/ 0 w 790355"/>
                    <a:gd name="connsiteY12" fmla="*/ 395178 h 781479"/>
                    <a:gd name="connsiteX13" fmla="*/ 87700 w 790355"/>
                    <a:gd name="connsiteY13" fmla="*/ 643427 h 781479"/>
                    <a:gd name="connsiteX14" fmla="*/ 307390 w 790355"/>
                    <a:gd name="connsiteY14" fmla="*/ 780513 h 781479"/>
                    <a:gd name="connsiteX15" fmla="*/ 316089 w 790355"/>
                    <a:gd name="connsiteY15" fmla="*/ 781480 h 781479"/>
                    <a:gd name="connsiteX16" fmla="*/ 354403 w 790355"/>
                    <a:gd name="connsiteY16" fmla="*/ 750811 h 781479"/>
                    <a:gd name="connsiteX17" fmla="*/ 324789 w 790355"/>
                    <a:gd name="connsiteY17" fmla="*/ 703797 h 781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0355" h="781479">
                      <a:moveTo>
                        <a:pt x="324877" y="703797"/>
                      </a:moveTo>
                      <a:cubicBezTo>
                        <a:pt x="256070" y="688156"/>
                        <a:pt x="193590" y="649139"/>
                        <a:pt x="148949" y="593953"/>
                      </a:cubicBezTo>
                      <a:cubicBezTo>
                        <a:pt x="102990" y="537097"/>
                        <a:pt x="78737" y="468378"/>
                        <a:pt x="78737" y="395090"/>
                      </a:cubicBezTo>
                      <a:cubicBezTo>
                        <a:pt x="78737" y="220568"/>
                        <a:pt x="220744" y="78561"/>
                        <a:pt x="395265" y="78561"/>
                      </a:cubicBezTo>
                      <a:cubicBezTo>
                        <a:pt x="569787" y="78561"/>
                        <a:pt x="711794" y="220568"/>
                        <a:pt x="711794" y="395090"/>
                      </a:cubicBezTo>
                      <a:cubicBezTo>
                        <a:pt x="711794" y="452560"/>
                        <a:pt x="696240" y="508801"/>
                        <a:pt x="666802" y="557836"/>
                      </a:cubicBezTo>
                      <a:cubicBezTo>
                        <a:pt x="655641" y="576465"/>
                        <a:pt x="661617" y="600631"/>
                        <a:pt x="680247" y="611791"/>
                      </a:cubicBezTo>
                      <a:cubicBezTo>
                        <a:pt x="698876" y="622952"/>
                        <a:pt x="723042" y="616976"/>
                        <a:pt x="734202" y="598346"/>
                      </a:cubicBezTo>
                      <a:cubicBezTo>
                        <a:pt x="770934" y="537185"/>
                        <a:pt x="790355" y="466884"/>
                        <a:pt x="790355" y="395178"/>
                      </a:cubicBezTo>
                      <a:cubicBezTo>
                        <a:pt x="790355" y="289639"/>
                        <a:pt x="749229" y="190427"/>
                        <a:pt x="674623" y="115732"/>
                      </a:cubicBezTo>
                      <a:cubicBezTo>
                        <a:pt x="600016" y="41126"/>
                        <a:pt x="500716" y="0"/>
                        <a:pt x="395178" y="0"/>
                      </a:cubicBezTo>
                      <a:cubicBezTo>
                        <a:pt x="289639" y="0"/>
                        <a:pt x="190427" y="41126"/>
                        <a:pt x="115732" y="115732"/>
                      </a:cubicBezTo>
                      <a:cubicBezTo>
                        <a:pt x="41126" y="190339"/>
                        <a:pt x="0" y="289639"/>
                        <a:pt x="0" y="395178"/>
                      </a:cubicBezTo>
                      <a:cubicBezTo>
                        <a:pt x="0" y="485338"/>
                        <a:pt x="31196" y="573478"/>
                        <a:pt x="87700" y="643427"/>
                      </a:cubicBezTo>
                      <a:cubicBezTo>
                        <a:pt x="143413" y="712321"/>
                        <a:pt x="221447" y="761005"/>
                        <a:pt x="307390" y="780513"/>
                      </a:cubicBezTo>
                      <a:cubicBezTo>
                        <a:pt x="310289" y="781216"/>
                        <a:pt x="313277" y="781480"/>
                        <a:pt x="316089" y="781480"/>
                      </a:cubicBezTo>
                      <a:cubicBezTo>
                        <a:pt x="334016" y="781480"/>
                        <a:pt x="350273" y="769089"/>
                        <a:pt x="354403" y="750811"/>
                      </a:cubicBezTo>
                      <a:cubicBezTo>
                        <a:pt x="359236" y="729633"/>
                        <a:pt x="345967" y="708543"/>
                        <a:pt x="324789" y="703797"/>
                      </a:cubicBezTo>
                      <a:close/>
                    </a:path>
                  </a:pathLst>
                </a:custGeom>
                <a:solidFill>
                  <a:srgbClr val="A3EDE3"/>
                </a:solidFill>
                <a:ln w="8786" cap="flat">
                  <a:noFill/>
                  <a:prstDash val="solid"/>
                  <a:miter/>
                </a:ln>
              </p:spPr>
              <p:txBody>
                <a:bodyPr rtlCol="0" anchor="ctr"/>
                <a:lstStyle/>
                <a:p>
                  <a:endParaRPr lang="en-US"/>
                </a:p>
              </p:txBody>
            </p:sp>
          </p:grpSp>
        </p:grpSp>
        <p:grpSp>
          <p:nvGrpSpPr>
            <p:cNvPr id="36" name="Graphic 3">
              <a:extLst>
                <a:ext uri="{FF2B5EF4-FFF2-40B4-BE49-F238E27FC236}">
                  <a16:creationId xmlns:a16="http://schemas.microsoft.com/office/drawing/2014/main" id="{D6E8C30B-2FEA-CBDD-78EB-C61A40DCBF9C}"/>
                </a:ext>
              </a:extLst>
            </p:cNvPr>
            <p:cNvGrpSpPr/>
            <p:nvPr/>
          </p:nvGrpSpPr>
          <p:grpSpPr>
            <a:xfrm>
              <a:off x="4163698" y="2735659"/>
              <a:ext cx="1868503" cy="320043"/>
              <a:chOff x="4163698" y="2735659"/>
              <a:chExt cx="1868503" cy="320043"/>
            </a:xfrm>
            <a:solidFill>
              <a:srgbClr val="022E33"/>
            </a:solidFill>
          </p:grpSpPr>
          <p:sp>
            <p:nvSpPr>
              <p:cNvPr id="49" name="Freeform: Shape 12">
                <a:extLst>
                  <a:ext uri="{FF2B5EF4-FFF2-40B4-BE49-F238E27FC236}">
                    <a16:creationId xmlns:a16="http://schemas.microsoft.com/office/drawing/2014/main" id="{8AD977ED-DC68-9C87-76C7-629491483E0F}"/>
                  </a:ext>
                </a:extLst>
              </p:cNvPr>
              <p:cNvSpPr/>
              <p:nvPr/>
            </p:nvSpPr>
            <p:spPr>
              <a:xfrm>
                <a:off x="5263816" y="2739174"/>
                <a:ext cx="248952" cy="312837"/>
              </a:xfrm>
              <a:custGeom>
                <a:avLst/>
                <a:gdLst>
                  <a:gd name="connsiteX0" fmla="*/ 94291 w 248952"/>
                  <a:gd name="connsiteY0" fmla="*/ 51847 h 312837"/>
                  <a:gd name="connsiteX1" fmla="*/ 0 w 248952"/>
                  <a:gd name="connsiteY1" fmla="*/ 51847 h 312837"/>
                  <a:gd name="connsiteX2" fmla="*/ 0 w 248952"/>
                  <a:gd name="connsiteY2" fmla="*/ 0 h 312837"/>
                  <a:gd name="connsiteX3" fmla="*/ 248952 w 248952"/>
                  <a:gd name="connsiteY3" fmla="*/ 0 h 312837"/>
                  <a:gd name="connsiteX4" fmla="*/ 248952 w 248952"/>
                  <a:gd name="connsiteY4" fmla="*/ 51847 h 312837"/>
                  <a:gd name="connsiteX5" fmla="*/ 155101 w 248952"/>
                  <a:gd name="connsiteY5" fmla="*/ 51847 h 312837"/>
                  <a:gd name="connsiteX6" fmla="*/ 155101 w 248952"/>
                  <a:gd name="connsiteY6" fmla="*/ 312838 h 312837"/>
                  <a:gd name="connsiteX7" fmla="*/ 94291 w 248952"/>
                  <a:gd name="connsiteY7" fmla="*/ 312838 h 312837"/>
                  <a:gd name="connsiteX8" fmla="*/ 94291 w 248952"/>
                  <a:gd name="connsiteY8" fmla="*/ 51847 h 3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52" h="312837">
                    <a:moveTo>
                      <a:pt x="94291" y="51847"/>
                    </a:moveTo>
                    <a:lnTo>
                      <a:pt x="0" y="51847"/>
                    </a:lnTo>
                    <a:lnTo>
                      <a:pt x="0" y="0"/>
                    </a:lnTo>
                    <a:lnTo>
                      <a:pt x="248952" y="0"/>
                    </a:lnTo>
                    <a:lnTo>
                      <a:pt x="248952" y="51847"/>
                    </a:lnTo>
                    <a:lnTo>
                      <a:pt x="155101" y="51847"/>
                    </a:lnTo>
                    <a:lnTo>
                      <a:pt x="155101" y="312838"/>
                    </a:lnTo>
                    <a:lnTo>
                      <a:pt x="94291" y="312838"/>
                    </a:lnTo>
                    <a:lnTo>
                      <a:pt x="94291" y="51847"/>
                    </a:lnTo>
                    <a:close/>
                  </a:path>
                </a:pathLst>
              </a:custGeom>
              <a:solidFill>
                <a:srgbClr val="022E33"/>
              </a:solidFill>
              <a:ln w="8786" cap="flat">
                <a:noFill/>
                <a:prstDash val="solid"/>
                <a:miter/>
              </a:ln>
            </p:spPr>
            <p:txBody>
              <a:bodyPr rtlCol="0" anchor="ctr"/>
              <a:lstStyle/>
              <a:p>
                <a:endParaRPr lang="en-US"/>
              </a:p>
            </p:txBody>
          </p:sp>
          <p:sp>
            <p:nvSpPr>
              <p:cNvPr id="50" name="Freeform: Shape 13">
                <a:extLst>
                  <a:ext uri="{FF2B5EF4-FFF2-40B4-BE49-F238E27FC236}">
                    <a16:creationId xmlns:a16="http://schemas.microsoft.com/office/drawing/2014/main" id="{0FE1627B-CF55-9DAE-84D8-FC082B4298B9}"/>
                  </a:ext>
                </a:extLst>
              </p:cNvPr>
              <p:cNvSpPr/>
              <p:nvPr/>
            </p:nvSpPr>
            <p:spPr>
              <a:xfrm>
                <a:off x="5557672" y="2739086"/>
                <a:ext cx="214153" cy="312925"/>
              </a:xfrm>
              <a:custGeom>
                <a:avLst/>
                <a:gdLst>
                  <a:gd name="connsiteX0" fmla="*/ 82779 w 214153"/>
                  <a:gd name="connsiteY0" fmla="*/ 88 h 312925"/>
                  <a:gd name="connsiteX1" fmla="*/ 214153 w 214153"/>
                  <a:gd name="connsiteY1" fmla="*/ 88 h 312925"/>
                  <a:gd name="connsiteX2" fmla="*/ 214153 w 214153"/>
                  <a:gd name="connsiteY2" fmla="*/ 51935 h 312925"/>
                  <a:gd name="connsiteX3" fmla="*/ 88403 w 214153"/>
                  <a:gd name="connsiteY3" fmla="*/ 51935 h 312925"/>
                  <a:gd name="connsiteX4" fmla="*/ 60810 w 214153"/>
                  <a:gd name="connsiteY4" fmla="*/ 79528 h 312925"/>
                  <a:gd name="connsiteX5" fmla="*/ 60810 w 214153"/>
                  <a:gd name="connsiteY5" fmla="*/ 130583 h 312925"/>
                  <a:gd name="connsiteX6" fmla="*/ 214153 w 214153"/>
                  <a:gd name="connsiteY6" fmla="*/ 130583 h 312925"/>
                  <a:gd name="connsiteX7" fmla="*/ 214153 w 214153"/>
                  <a:gd name="connsiteY7" fmla="*/ 182430 h 312925"/>
                  <a:gd name="connsiteX8" fmla="*/ 60810 w 214153"/>
                  <a:gd name="connsiteY8" fmla="*/ 182430 h 312925"/>
                  <a:gd name="connsiteX9" fmla="*/ 60810 w 214153"/>
                  <a:gd name="connsiteY9" fmla="*/ 233486 h 312925"/>
                  <a:gd name="connsiteX10" fmla="*/ 88403 w 214153"/>
                  <a:gd name="connsiteY10" fmla="*/ 261079 h 312925"/>
                  <a:gd name="connsiteX11" fmla="*/ 214153 w 214153"/>
                  <a:gd name="connsiteY11" fmla="*/ 261079 h 312925"/>
                  <a:gd name="connsiteX12" fmla="*/ 214153 w 214153"/>
                  <a:gd name="connsiteY12" fmla="*/ 312926 h 312925"/>
                  <a:gd name="connsiteX13" fmla="*/ 82779 w 214153"/>
                  <a:gd name="connsiteY13" fmla="*/ 312926 h 312925"/>
                  <a:gd name="connsiteX14" fmla="*/ 0 w 214153"/>
                  <a:gd name="connsiteY14" fmla="*/ 230147 h 312925"/>
                  <a:gd name="connsiteX15" fmla="*/ 0 w 214153"/>
                  <a:gd name="connsiteY15" fmla="*/ 82779 h 312925"/>
                  <a:gd name="connsiteX16" fmla="*/ 82779 w 214153"/>
                  <a:gd name="connsiteY16"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4153" h="312925">
                    <a:moveTo>
                      <a:pt x="82779" y="88"/>
                    </a:moveTo>
                    <a:lnTo>
                      <a:pt x="214153" y="88"/>
                    </a:lnTo>
                    <a:lnTo>
                      <a:pt x="214153" y="51935"/>
                    </a:lnTo>
                    <a:lnTo>
                      <a:pt x="88403" y="51935"/>
                    </a:lnTo>
                    <a:cubicBezTo>
                      <a:pt x="73201" y="51935"/>
                      <a:pt x="60810" y="64325"/>
                      <a:pt x="60810" y="79528"/>
                    </a:cubicBezTo>
                    <a:lnTo>
                      <a:pt x="60810" y="130583"/>
                    </a:lnTo>
                    <a:lnTo>
                      <a:pt x="214153" y="130583"/>
                    </a:lnTo>
                    <a:lnTo>
                      <a:pt x="214153" y="182430"/>
                    </a:lnTo>
                    <a:lnTo>
                      <a:pt x="60810" y="182430"/>
                    </a:lnTo>
                    <a:lnTo>
                      <a:pt x="60810" y="233486"/>
                    </a:lnTo>
                    <a:cubicBezTo>
                      <a:pt x="60810" y="248689"/>
                      <a:pt x="73201" y="261079"/>
                      <a:pt x="88403" y="261079"/>
                    </a:cubicBezTo>
                    <a:lnTo>
                      <a:pt x="214153" y="261079"/>
                    </a:lnTo>
                    <a:lnTo>
                      <a:pt x="214153" y="312926"/>
                    </a:lnTo>
                    <a:lnTo>
                      <a:pt x="82779" y="312926"/>
                    </a:lnTo>
                    <a:cubicBezTo>
                      <a:pt x="37084" y="312926"/>
                      <a:pt x="0" y="275842"/>
                      <a:pt x="0" y="230147"/>
                    </a:cubicBezTo>
                    <a:lnTo>
                      <a:pt x="0" y="82779"/>
                    </a:lnTo>
                    <a:cubicBezTo>
                      <a:pt x="0" y="37084"/>
                      <a:pt x="37084" y="0"/>
                      <a:pt x="82779" y="0"/>
                    </a:cubicBezTo>
                    <a:close/>
                  </a:path>
                </a:pathLst>
              </a:custGeom>
              <a:solidFill>
                <a:srgbClr val="022E33"/>
              </a:solidFill>
              <a:ln w="8786" cap="flat">
                <a:noFill/>
                <a:prstDash val="solid"/>
                <a:miter/>
              </a:ln>
            </p:spPr>
            <p:txBody>
              <a:bodyPr rtlCol="0" anchor="ctr"/>
              <a:lstStyle/>
              <a:p>
                <a:endParaRPr lang="en-US"/>
              </a:p>
            </p:txBody>
          </p:sp>
          <p:sp>
            <p:nvSpPr>
              <p:cNvPr id="51" name="Freeform: Shape 14">
                <a:extLst>
                  <a:ext uri="{FF2B5EF4-FFF2-40B4-BE49-F238E27FC236}">
                    <a16:creationId xmlns:a16="http://schemas.microsoft.com/office/drawing/2014/main" id="{6A025B30-54B0-668D-6030-836D4770EF40}"/>
                  </a:ext>
                </a:extLst>
              </p:cNvPr>
              <p:cNvSpPr/>
              <p:nvPr/>
            </p:nvSpPr>
            <p:spPr>
              <a:xfrm>
                <a:off x="5824287" y="2739174"/>
                <a:ext cx="207914" cy="312925"/>
              </a:xfrm>
              <a:custGeom>
                <a:avLst/>
                <a:gdLst>
                  <a:gd name="connsiteX0" fmla="*/ 0 w 207914"/>
                  <a:gd name="connsiteY0" fmla="*/ 0 h 312925"/>
                  <a:gd name="connsiteX1" fmla="*/ 60810 w 207914"/>
                  <a:gd name="connsiteY1" fmla="*/ 0 h 312925"/>
                  <a:gd name="connsiteX2" fmla="*/ 60810 w 207914"/>
                  <a:gd name="connsiteY2" fmla="*/ 233486 h 312925"/>
                  <a:gd name="connsiteX3" fmla="*/ 88403 w 207914"/>
                  <a:gd name="connsiteY3" fmla="*/ 261079 h 312925"/>
                  <a:gd name="connsiteX4" fmla="*/ 207914 w 207914"/>
                  <a:gd name="connsiteY4" fmla="*/ 261079 h 312925"/>
                  <a:gd name="connsiteX5" fmla="*/ 207914 w 207914"/>
                  <a:gd name="connsiteY5" fmla="*/ 312926 h 312925"/>
                  <a:gd name="connsiteX6" fmla="*/ 82867 w 207914"/>
                  <a:gd name="connsiteY6" fmla="*/ 312926 h 312925"/>
                  <a:gd name="connsiteX7" fmla="*/ 88 w 207914"/>
                  <a:gd name="connsiteY7" fmla="*/ 230147 h 312925"/>
                  <a:gd name="connsiteX8" fmla="*/ 88 w 207914"/>
                  <a:gd name="connsiteY8"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914" h="312925">
                    <a:moveTo>
                      <a:pt x="0" y="0"/>
                    </a:moveTo>
                    <a:lnTo>
                      <a:pt x="60810" y="0"/>
                    </a:lnTo>
                    <a:lnTo>
                      <a:pt x="60810" y="233486"/>
                    </a:lnTo>
                    <a:cubicBezTo>
                      <a:pt x="60810" y="248689"/>
                      <a:pt x="73201" y="261079"/>
                      <a:pt x="88403" y="261079"/>
                    </a:cubicBezTo>
                    <a:lnTo>
                      <a:pt x="207914" y="261079"/>
                    </a:lnTo>
                    <a:lnTo>
                      <a:pt x="207914" y="312926"/>
                    </a:lnTo>
                    <a:lnTo>
                      <a:pt x="82867" y="312926"/>
                    </a:lnTo>
                    <a:cubicBezTo>
                      <a:pt x="37172" y="312926"/>
                      <a:pt x="88" y="275842"/>
                      <a:pt x="88" y="230147"/>
                    </a:cubicBezTo>
                    <a:lnTo>
                      <a:pt x="88" y="0"/>
                    </a:lnTo>
                    <a:close/>
                  </a:path>
                </a:pathLst>
              </a:custGeom>
              <a:solidFill>
                <a:srgbClr val="022E33"/>
              </a:solidFill>
              <a:ln w="8786" cap="flat">
                <a:noFill/>
                <a:prstDash val="solid"/>
                <a:miter/>
              </a:ln>
            </p:spPr>
            <p:txBody>
              <a:bodyPr rtlCol="0" anchor="ctr"/>
              <a:lstStyle/>
              <a:p>
                <a:endParaRPr lang="en-US"/>
              </a:p>
            </p:txBody>
          </p:sp>
          <p:sp>
            <p:nvSpPr>
              <p:cNvPr id="52" name="Freeform: Shape 15">
                <a:extLst>
                  <a:ext uri="{FF2B5EF4-FFF2-40B4-BE49-F238E27FC236}">
                    <a16:creationId xmlns:a16="http://schemas.microsoft.com/office/drawing/2014/main" id="{DFFD6B4A-FE26-ECB9-7C39-52E97F688E9E}"/>
                  </a:ext>
                </a:extLst>
              </p:cNvPr>
              <p:cNvSpPr/>
              <p:nvPr/>
            </p:nvSpPr>
            <p:spPr>
              <a:xfrm>
                <a:off x="4957744" y="2739174"/>
                <a:ext cx="261518" cy="312925"/>
              </a:xfrm>
              <a:custGeom>
                <a:avLst/>
                <a:gdLst>
                  <a:gd name="connsiteX0" fmla="*/ 261518 w 261518"/>
                  <a:gd name="connsiteY0" fmla="*/ 82779 h 312925"/>
                  <a:gd name="connsiteX1" fmla="*/ 261518 w 261518"/>
                  <a:gd name="connsiteY1" fmla="*/ 312926 h 312925"/>
                  <a:gd name="connsiteX2" fmla="*/ 200708 w 261518"/>
                  <a:gd name="connsiteY2" fmla="*/ 312926 h 312925"/>
                  <a:gd name="connsiteX3" fmla="*/ 200708 w 261518"/>
                  <a:gd name="connsiteY3" fmla="*/ 79440 h 312925"/>
                  <a:gd name="connsiteX4" fmla="*/ 173115 w 261518"/>
                  <a:gd name="connsiteY4" fmla="*/ 51847 h 312925"/>
                  <a:gd name="connsiteX5" fmla="*/ 60810 w 261518"/>
                  <a:gd name="connsiteY5" fmla="*/ 51847 h 312925"/>
                  <a:gd name="connsiteX6" fmla="*/ 60810 w 261518"/>
                  <a:gd name="connsiteY6" fmla="*/ 312838 h 312925"/>
                  <a:gd name="connsiteX7" fmla="*/ 0 w 261518"/>
                  <a:gd name="connsiteY7" fmla="*/ 312838 h 312925"/>
                  <a:gd name="connsiteX8" fmla="*/ 0 w 261518"/>
                  <a:gd name="connsiteY8" fmla="*/ 0 h 312925"/>
                  <a:gd name="connsiteX9" fmla="*/ 178739 w 261518"/>
                  <a:gd name="connsiteY9" fmla="*/ 0 h 312925"/>
                  <a:gd name="connsiteX10" fmla="*/ 261518 w 261518"/>
                  <a:gd name="connsiteY10" fmla="*/ 82779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518" h="312925">
                    <a:moveTo>
                      <a:pt x="261518" y="82779"/>
                    </a:moveTo>
                    <a:lnTo>
                      <a:pt x="261518" y="312926"/>
                    </a:lnTo>
                    <a:lnTo>
                      <a:pt x="200708" y="312926"/>
                    </a:lnTo>
                    <a:lnTo>
                      <a:pt x="200708" y="79440"/>
                    </a:lnTo>
                    <a:cubicBezTo>
                      <a:pt x="200708" y="64237"/>
                      <a:pt x="188318" y="51847"/>
                      <a:pt x="173115" y="51847"/>
                    </a:cubicBezTo>
                    <a:lnTo>
                      <a:pt x="60810" y="51847"/>
                    </a:lnTo>
                    <a:lnTo>
                      <a:pt x="60810" y="312838"/>
                    </a:lnTo>
                    <a:lnTo>
                      <a:pt x="0" y="312838"/>
                    </a:lnTo>
                    <a:lnTo>
                      <a:pt x="0" y="0"/>
                    </a:lnTo>
                    <a:lnTo>
                      <a:pt x="178739" y="0"/>
                    </a:lnTo>
                    <a:cubicBezTo>
                      <a:pt x="224435" y="0"/>
                      <a:pt x="261518" y="37084"/>
                      <a:pt x="261518" y="82779"/>
                    </a:cubicBezTo>
                    <a:close/>
                  </a:path>
                </a:pathLst>
              </a:custGeom>
              <a:solidFill>
                <a:srgbClr val="022E33"/>
              </a:solidFill>
              <a:ln w="8786" cap="flat">
                <a:noFill/>
                <a:prstDash val="solid"/>
                <a:miter/>
              </a:ln>
            </p:spPr>
            <p:txBody>
              <a:bodyPr rtlCol="0" anchor="ctr"/>
              <a:lstStyle/>
              <a:p>
                <a:endParaRPr lang="en-US"/>
              </a:p>
            </p:txBody>
          </p:sp>
          <p:sp>
            <p:nvSpPr>
              <p:cNvPr id="53" name="Freeform: Shape 16">
                <a:extLst>
                  <a:ext uri="{FF2B5EF4-FFF2-40B4-BE49-F238E27FC236}">
                    <a16:creationId xmlns:a16="http://schemas.microsoft.com/office/drawing/2014/main" id="{9BFC74D3-CB24-7BF9-4927-07DCD6EAD89E}"/>
                  </a:ext>
                </a:extLst>
              </p:cNvPr>
              <p:cNvSpPr/>
              <p:nvPr/>
            </p:nvSpPr>
            <p:spPr>
              <a:xfrm>
                <a:off x="4163698" y="2739174"/>
                <a:ext cx="379096" cy="312925"/>
              </a:xfrm>
              <a:custGeom>
                <a:avLst/>
                <a:gdLst>
                  <a:gd name="connsiteX0" fmla="*/ 296317 w 379096"/>
                  <a:gd name="connsiteY0" fmla="*/ 0 h 312925"/>
                  <a:gd name="connsiteX1" fmla="*/ 379096 w 379096"/>
                  <a:gd name="connsiteY1" fmla="*/ 82779 h 312925"/>
                  <a:gd name="connsiteX2" fmla="*/ 379096 w 379096"/>
                  <a:gd name="connsiteY2" fmla="*/ 312926 h 312925"/>
                  <a:gd name="connsiteX3" fmla="*/ 318286 w 379096"/>
                  <a:gd name="connsiteY3" fmla="*/ 312926 h 312925"/>
                  <a:gd name="connsiteX4" fmla="*/ 318286 w 379096"/>
                  <a:gd name="connsiteY4" fmla="*/ 79440 h 312925"/>
                  <a:gd name="connsiteX5" fmla="*/ 290693 w 379096"/>
                  <a:gd name="connsiteY5" fmla="*/ 51847 h 312925"/>
                  <a:gd name="connsiteX6" fmla="*/ 219953 w 379096"/>
                  <a:gd name="connsiteY6" fmla="*/ 51847 h 312925"/>
                  <a:gd name="connsiteX7" fmla="*/ 219953 w 379096"/>
                  <a:gd name="connsiteY7" fmla="*/ 312838 h 312925"/>
                  <a:gd name="connsiteX8" fmla="*/ 159143 w 379096"/>
                  <a:gd name="connsiteY8" fmla="*/ 312838 h 312925"/>
                  <a:gd name="connsiteX9" fmla="*/ 159143 w 379096"/>
                  <a:gd name="connsiteY9" fmla="*/ 51847 h 312925"/>
                  <a:gd name="connsiteX10" fmla="*/ 88403 w 379096"/>
                  <a:gd name="connsiteY10" fmla="*/ 51847 h 312925"/>
                  <a:gd name="connsiteX11" fmla="*/ 60810 w 379096"/>
                  <a:gd name="connsiteY11" fmla="*/ 79440 h 312925"/>
                  <a:gd name="connsiteX12" fmla="*/ 60810 w 379096"/>
                  <a:gd name="connsiteY12" fmla="*/ 312926 h 312925"/>
                  <a:gd name="connsiteX13" fmla="*/ 0 w 379096"/>
                  <a:gd name="connsiteY13" fmla="*/ 312926 h 312925"/>
                  <a:gd name="connsiteX14" fmla="*/ 0 w 379096"/>
                  <a:gd name="connsiteY14" fmla="*/ 82779 h 312925"/>
                  <a:gd name="connsiteX15" fmla="*/ 82779 w 379096"/>
                  <a:gd name="connsiteY15" fmla="*/ 0 h 312925"/>
                  <a:gd name="connsiteX16" fmla="*/ 296317 w 379096"/>
                  <a:gd name="connsiteY16"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9096" h="312925">
                    <a:moveTo>
                      <a:pt x="296317" y="0"/>
                    </a:moveTo>
                    <a:cubicBezTo>
                      <a:pt x="342013" y="0"/>
                      <a:pt x="379096" y="37084"/>
                      <a:pt x="379096" y="82779"/>
                    </a:cubicBezTo>
                    <a:lnTo>
                      <a:pt x="379096" y="312926"/>
                    </a:lnTo>
                    <a:lnTo>
                      <a:pt x="318286" y="312926"/>
                    </a:lnTo>
                    <a:lnTo>
                      <a:pt x="318286" y="79440"/>
                    </a:lnTo>
                    <a:cubicBezTo>
                      <a:pt x="318286" y="64237"/>
                      <a:pt x="305896" y="51847"/>
                      <a:pt x="290693" y="51847"/>
                    </a:cubicBezTo>
                    <a:lnTo>
                      <a:pt x="219953" y="51847"/>
                    </a:lnTo>
                    <a:lnTo>
                      <a:pt x="219953" y="312838"/>
                    </a:lnTo>
                    <a:lnTo>
                      <a:pt x="159143" y="312838"/>
                    </a:lnTo>
                    <a:lnTo>
                      <a:pt x="159143" y="51847"/>
                    </a:lnTo>
                    <a:lnTo>
                      <a:pt x="88403" y="51847"/>
                    </a:lnTo>
                    <a:cubicBezTo>
                      <a:pt x="73201" y="51847"/>
                      <a:pt x="60810" y="64237"/>
                      <a:pt x="60810" y="79440"/>
                    </a:cubicBezTo>
                    <a:lnTo>
                      <a:pt x="60810" y="312926"/>
                    </a:lnTo>
                    <a:lnTo>
                      <a:pt x="0" y="312926"/>
                    </a:lnTo>
                    <a:lnTo>
                      <a:pt x="0" y="82779"/>
                    </a:lnTo>
                    <a:cubicBezTo>
                      <a:pt x="0" y="37084"/>
                      <a:pt x="37084" y="0"/>
                      <a:pt x="82779" y="0"/>
                    </a:cubicBezTo>
                    <a:lnTo>
                      <a:pt x="296317" y="0"/>
                    </a:lnTo>
                    <a:close/>
                  </a:path>
                </a:pathLst>
              </a:custGeom>
              <a:solidFill>
                <a:srgbClr val="022E33"/>
              </a:solidFill>
              <a:ln w="8786" cap="flat">
                <a:noFill/>
                <a:prstDash val="solid"/>
                <a:miter/>
              </a:ln>
            </p:spPr>
            <p:txBody>
              <a:bodyPr rtlCol="0" anchor="ctr"/>
              <a:lstStyle/>
              <a:p>
                <a:endParaRPr lang="en-US"/>
              </a:p>
            </p:txBody>
          </p:sp>
          <p:sp>
            <p:nvSpPr>
              <p:cNvPr id="54" name="Freeform: Shape 17">
                <a:extLst>
                  <a:ext uri="{FF2B5EF4-FFF2-40B4-BE49-F238E27FC236}">
                    <a16:creationId xmlns:a16="http://schemas.microsoft.com/office/drawing/2014/main" id="{2529D964-BAAC-0E0D-04C5-8E72325D74C9}"/>
                  </a:ext>
                </a:extLst>
              </p:cNvPr>
              <p:cNvSpPr/>
              <p:nvPr/>
            </p:nvSpPr>
            <p:spPr>
              <a:xfrm>
                <a:off x="4590423" y="2735659"/>
                <a:ext cx="320043" cy="320043"/>
              </a:xfrm>
              <a:custGeom>
                <a:avLst/>
                <a:gdLst>
                  <a:gd name="connsiteX0" fmla="*/ 160022 w 320043"/>
                  <a:gd name="connsiteY0" fmla="*/ 58877 h 320043"/>
                  <a:gd name="connsiteX1" fmla="*/ 261167 w 320043"/>
                  <a:gd name="connsiteY1" fmla="*/ 160022 h 320043"/>
                  <a:gd name="connsiteX2" fmla="*/ 160022 w 320043"/>
                  <a:gd name="connsiteY2" fmla="*/ 261167 h 320043"/>
                  <a:gd name="connsiteX3" fmla="*/ 58877 w 320043"/>
                  <a:gd name="connsiteY3" fmla="*/ 160022 h 320043"/>
                  <a:gd name="connsiteX4" fmla="*/ 160022 w 320043"/>
                  <a:gd name="connsiteY4" fmla="*/ 58877 h 320043"/>
                  <a:gd name="connsiteX5" fmla="*/ 160022 w 320043"/>
                  <a:gd name="connsiteY5" fmla="*/ 0 h 320043"/>
                  <a:gd name="connsiteX6" fmla="*/ 0 w 320043"/>
                  <a:gd name="connsiteY6" fmla="*/ 160022 h 320043"/>
                  <a:gd name="connsiteX7" fmla="*/ 160022 w 320043"/>
                  <a:gd name="connsiteY7" fmla="*/ 320044 h 320043"/>
                  <a:gd name="connsiteX8" fmla="*/ 320044 w 320043"/>
                  <a:gd name="connsiteY8" fmla="*/ 160022 h 320043"/>
                  <a:gd name="connsiteX9" fmla="*/ 160022 w 320043"/>
                  <a:gd name="connsiteY9" fmla="*/ 0 h 320043"/>
                  <a:gd name="connsiteX10" fmla="*/ 160022 w 320043"/>
                  <a:gd name="connsiteY10" fmla="*/ 0 h 32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043" h="320043">
                    <a:moveTo>
                      <a:pt x="160022" y="58877"/>
                    </a:moveTo>
                    <a:cubicBezTo>
                      <a:pt x="215823" y="58877"/>
                      <a:pt x="261167" y="104221"/>
                      <a:pt x="261167" y="160022"/>
                    </a:cubicBezTo>
                    <a:cubicBezTo>
                      <a:pt x="261167" y="215823"/>
                      <a:pt x="215823" y="261167"/>
                      <a:pt x="160022" y="261167"/>
                    </a:cubicBezTo>
                    <a:cubicBezTo>
                      <a:pt x="104221" y="261167"/>
                      <a:pt x="58877" y="215823"/>
                      <a:pt x="58877" y="160022"/>
                    </a:cubicBezTo>
                    <a:cubicBezTo>
                      <a:pt x="58877" y="104221"/>
                      <a:pt x="104221" y="58877"/>
                      <a:pt x="160022" y="58877"/>
                    </a:cubicBezTo>
                    <a:moveTo>
                      <a:pt x="160022" y="0"/>
                    </a:moveTo>
                    <a:cubicBezTo>
                      <a:pt x="71619" y="0"/>
                      <a:pt x="0" y="71619"/>
                      <a:pt x="0" y="160022"/>
                    </a:cubicBezTo>
                    <a:cubicBezTo>
                      <a:pt x="0" y="248425"/>
                      <a:pt x="71619" y="320044"/>
                      <a:pt x="160022" y="320044"/>
                    </a:cubicBezTo>
                    <a:cubicBezTo>
                      <a:pt x="248425" y="320044"/>
                      <a:pt x="320044" y="248425"/>
                      <a:pt x="320044" y="160022"/>
                    </a:cubicBezTo>
                    <a:cubicBezTo>
                      <a:pt x="320044" y="71619"/>
                      <a:pt x="248425" y="0"/>
                      <a:pt x="160022" y="0"/>
                    </a:cubicBezTo>
                    <a:lnTo>
                      <a:pt x="160022" y="0"/>
                    </a:lnTo>
                    <a:close/>
                  </a:path>
                </a:pathLst>
              </a:custGeom>
              <a:solidFill>
                <a:srgbClr val="022E33"/>
              </a:solidFill>
              <a:ln w="8786" cap="flat">
                <a:noFill/>
                <a:prstDash val="solid"/>
                <a:miter/>
              </a:ln>
            </p:spPr>
            <p:txBody>
              <a:bodyPr rtlCol="0" anchor="ctr"/>
              <a:lstStyle/>
              <a:p>
                <a:endParaRPr lang="en-US"/>
              </a:p>
            </p:txBody>
          </p:sp>
        </p:grpSp>
        <p:grpSp>
          <p:nvGrpSpPr>
            <p:cNvPr id="37" name="Graphic 3">
              <a:extLst>
                <a:ext uri="{FF2B5EF4-FFF2-40B4-BE49-F238E27FC236}">
                  <a16:creationId xmlns:a16="http://schemas.microsoft.com/office/drawing/2014/main" id="{094A31DC-6FA0-C3A0-1CA0-0A0D548086CD}"/>
                </a:ext>
              </a:extLst>
            </p:cNvPr>
            <p:cNvGrpSpPr/>
            <p:nvPr/>
          </p:nvGrpSpPr>
          <p:grpSpPr>
            <a:xfrm>
              <a:off x="4163698" y="3206410"/>
              <a:ext cx="6291898" cy="1054861"/>
              <a:chOff x="4163698" y="3206410"/>
              <a:chExt cx="6291898" cy="1054861"/>
            </a:xfrm>
            <a:solidFill>
              <a:srgbClr val="022E33"/>
            </a:solidFill>
          </p:grpSpPr>
          <p:sp>
            <p:nvSpPr>
              <p:cNvPr id="38" name="Freeform: Shape 19">
                <a:extLst>
                  <a:ext uri="{FF2B5EF4-FFF2-40B4-BE49-F238E27FC236}">
                    <a16:creationId xmlns:a16="http://schemas.microsoft.com/office/drawing/2014/main" id="{20BA13C6-65EB-305A-14FD-7B48335EE02B}"/>
                  </a:ext>
                </a:extLst>
              </p:cNvPr>
              <p:cNvSpPr/>
              <p:nvPr/>
            </p:nvSpPr>
            <p:spPr>
              <a:xfrm>
                <a:off x="4163698" y="3215812"/>
                <a:ext cx="848616" cy="829635"/>
              </a:xfrm>
              <a:custGeom>
                <a:avLst/>
                <a:gdLst>
                  <a:gd name="connsiteX0" fmla="*/ 0 w 848616"/>
                  <a:gd name="connsiteY0" fmla="*/ 88 h 829635"/>
                  <a:gd name="connsiteX1" fmla="*/ 118545 w 848616"/>
                  <a:gd name="connsiteY1" fmla="*/ 88 h 829635"/>
                  <a:gd name="connsiteX2" fmla="*/ 360291 w 848616"/>
                  <a:gd name="connsiteY2" fmla="*/ 573741 h 829635"/>
                  <a:gd name="connsiteX3" fmla="*/ 425495 w 848616"/>
                  <a:gd name="connsiteY3" fmla="*/ 762147 h 829635"/>
                  <a:gd name="connsiteX4" fmla="*/ 485953 w 848616"/>
                  <a:gd name="connsiteY4" fmla="*/ 583144 h 829635"/>
                  <a:gd name="connsiteX5" fmla="*/ 732445 w 848616"/>
                  <a:gd name="connsiteY5" fmla="*/ 0 h 829635"/>
                  <a:gd name="connsiteX6" fmla="*/ 848617 w 848616"/>
                  <a:gd name="connsiteY6" fmla="*/ 0 h 829635"/>
                  <a:gd name="connsiteX7" fmla="*/ 848617 w 848616"/>
                  <a:gd name="connsiteY7" fmla="*/ 829636 h 829635"/>
                  <a:gd name="connsiteX8" fmla="*/ 768035 w 848616"/>
                  <a:gd name="connsiteY8" fmla="*/ 829636 h 829635"/>
                  <a:gd name="connsiteX9" fmla="*/ 768035 w 848616"/>
                  <a:gd name="connsiteY9" fmla="*/ 271448 h 829635"/>
                  <a:gd name="connsiteX10" fmla="*/ 775153 w 848616"/>
                  <a:gd name="connsiteY10" fmla="*/ 69949 h 829635"/>
                  <a:gd name="connsiteX11" fmla="*/ 707576 w 848616"/>
                  <a:gd name="connsiteY11" fmla="*/ 250095 h 829635"/>
                  <a:gd name="connsiteX12" fmla="*/ 463457 w 848616"/>
                  <a:gd name="connsiteY12" fmla="*/ 829636 h 829635"/>
                  <a:gd name="connsiteX13" fmla="*/ 386390 w 848616"/>
                  <a:gd name="connsiteY13" fmla="*/ 829636 h 829635"/>
                  <a:gd name="connsiteX14" fmla="*/ 144644 w 848616"/>
                  <a:gd name="connsiteY14" fmla="*/ 258355 h 829635"/>
                  <a:gd name="connsiteX15" fmla="*/ 72322 w 848616"/>
                  <a:gd name="connsiteY15" fmla="*/ 71092 h 829635"/>
                  <a:gd name="connsiteX16" fmla="*/ 79440 w 848616"/>
                  <a:gd name="connsiteY16" fmla="*/ 263100 h 829635"/>
                  <a:gd name="connsiteX17" fmla="*/ 79440 w 848616"/>
                  <a:gd name="connsiteY17" fmla="*/ 829636 h 829635"/>
                  <a:gd name="connsiteX18" fmla="*/ 0 w 848616"/>
                  <a:gd name="connsiteY18" fmla="*/ 829636 h 829635"/>
                  <a:gd name="connsiteX19" fmla="*/ 0 w 848616"/>
                  <a:gd name="connsiteY19" fmla="*/ 88 h 82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8616" h="829635">
                    <a:moveTo>
                      <a:pt x="0" y="88"/>
                    </a:moveTo>
                    <a:lnTo>
                      <a:pt x="118545" y="88"/>
                    </a:lnTo>
                    <a:lnTo>
                      <a:pt x="360291" y="573741"/>
                    </a:lnTo>
                    <a:cubicBezTo>
                      <a:pt x="410029" y="689913"/>
                      <a:pt x="425495" y="762147"/>
                      <a:pt x="425495" y="762147"/>
                    </a:cubicBezTo>
                    <a:cubicBezTo>
                      <a:pt x="425495" y="762147"/>
                      <a:pt x="440873" y="689825"/>
                      <a:pt x="485953" y="583144"/>
                    </a:cubicBezTo>
                    <a:lnTo>
                      <a:pt x="732445" y="0"/>
                    </a:lnTo>
                    <a:lnTo>
                      <a:pt x="848617" y="0"/>
                    </a:lnTo>
                    <a:lnTo>
                      <a:pt x="848617" y="829636"/>
                    </a:lnTo>
                    <a:lnTo>
                      <a:pt x="768035" y="829636"/>
                    </a:lnTo>
                    <a:lnTo>
                      <a:pt x="768035" y="271448"/>
                    </a:lnTo>
                    <a:cubicBezTo>
                      <a:pt x="768035" y="144644"/>
                      <a:pt x="775153" y="69949"/>
                      <a:pt x="775153" y="69949"/>
                    </a:cubicBezTo>
                    <a:cubicBezTo>
                      <a:pt x="775153" y="69949"/>
                      <a:pt x="752657" y="142271"/>
                      <a:pt x="707576" y="250095"/>
                    </a:cubicBezTo>
                    <a:lnTo>
                      <a:pt x="463457" y="829636"/>
                    </a:lnTo>
                    <a:lnTo>
                      <a:pt x="386390" y="829636"/>
                    </a:lnTo>
                    <a:lnTo>
                      <a:pt x="144644" y="258355"/>
                    </a:lnTo>
                    <a:cubicBezTo>
                      <a:pt x="94906" y="143413"/>
                      <a:pt x="72322" y="71092"/>
                      <a:pt x="72322" y="71092"/>
                    </a:cubicBezTo>
                    <a:cubicBezTo>
                      <a:pt x="72322" y="71092"/>
                      <a:pt x="79440" y="145786"/>
                      <a:pt x="79440" y="263100"/>
                    </a:cubicBezTo>
                    <a:lnTo>
                      <a:pt x="79440" y="829636"/>
                    </a:lnTo>
                    <a:lnTo>
                      <a:pt x="0" y="829636"/>
                    </a:lnTo>
                    <a:lnTo>
                      <a:pt x="0" y="88"/>
                    </a:lnTo>
                    <a:close/>
                  </a:path>
                </a:pathLst>
              </a:custGeom>
              <a:solidFill>
                <a:srgbClr val="022E33"/>
              </a:solidFill>
              <a:ln w="8786" cap="flat">
                <a:noFill/>
                <a:prstDash val="solid"/>
                <a:miter/>
              </a:ln>
            </p:spPr>
            <p:txBody>
              <a:bodyPr rtlCol="0" anchor="ctr"/>
              <a:lstStyle/>
              <a:p>
                <a:endParaRPr lang="en-US"/>
              </a:p>
            </p:txBody>
          </p:sp>
          <p:sp>
            <p:nvSpPr>
              <p:cNvPr id="39" name="Freeform: Shape 20">
                <a:extLst>
                  <a:ext uri="{FF2B5EF4-FFF2-40B4-BE49-F238E27FC236}">
                    <a16:creationId xmlns:a16="http://schemas.microsoft.com/office/drawing/2014/main" id="{D1C99EE7-45C9-478A-AE7B-B380D6889929}"/>
                  </a:ext>
                </a:extLst>
              </p:cNvPr>
              <p:cNvSpPr/>
              <p:nvPr/>
            </p:nvSpPr>
            <p:spPr>
              <a:xfrm>
                <a:off x="5148435" y="3438665"/>
                <a:ext cx="488325" cy="616361"/>
              </a:xfrm>
              <a:custGeom>
                <a:avLst/>
                <a:gdLst>
                  <a:gd name="connsiteX0" fmla="*/ 176 w 488325"/>
                  <a:gd name="connsiteY0" fmla="*/ 449221 h 616361"/>
                  <a:gd name="connsiteX1" fmla="*/ 278654 w 488325"/>
                  <a:gd name="connsiteY1" fmla="*/ 250095 h 616361"/>
                  <a:gd name="connsiteX2" fmla="*/ 413807 w 488325"/>
                  <a:gd name="connsiteY2" fmla="*/ 235859 h 616361"/>
                  <a:gd name="connsiteX3" fmla="*/ 413807 w 488325"/>
                  <a:gd name="connsiteY3" fmla="*/ 209760 h 616361"/>
                  <a:gd name="connsiteX4" fmla="*/ 251413 w 488325"/>
                  <a:gd name="connsiteY4" fmla="*/ 66346 h 616361"/>
                  <a:gd name="connsiteX5" fmla="*/ 81900 w 488325"/>
                  <a:gd name="connsiteY5" fmla="*/ 209760 h 616361"/>
                  <a:gd name="connsiteX6" fmla="*/ 4833 w 488325"/>
                  <a:gd name="connsiteY6" fmla="*/ 209760 h 616361"/>
                  <a:gd name="connsiteX7" fmla="*/ 251325 w 488325"/>
                  <a:gd name="connsiteY7" fmla="*/ 0 h 616361"/>
                  <a:gd name="connsiteX8" fmla="*/ 488326 w 488325"/>
                  <a:gd name="connsiteY8" fmla="*/ 215735 h 616361"/>
                  <a:gd name="connsiteX9" fmla="*/ 488326 w 488325"/>
                  <a:gd name="connsiteY9" fmla="*/ 606871 h 616361"/>
                  <a:gd name="connsiteX10" fmla="*/ 413631 w 488325"/>
                  <a:gd name="connsiteY10" fmla="*/ 606871 h 616361"/>
                  <a:gd name="connsiteX11" fmla="*/ 413631 w 488325"/>
                  <a:gd name="connsiteY11" fmla="*/ 483581 h 616361"/>
                  <a:gd name="connsiteX12" fmla="*/ 206245 w 488325"/>
                  <a:gd name="connsiteY12" fmla="*/ 616361 h 616361"/>
                  <a:gd name="connsiteX13" fmla="*/ 0 w 488325"/>
                  <a:gd name="connsiteY13" fmla="*/ 449221 h 616361"/>
                  <a:gd name="connsiteX14" fmla="*/ 211166 w 488325"/>
                  <a:gd name="connsiteY14" fmla="*/ 549927 h 616361"/>
                  <a:gd name="connsiteX15" fmla="*/ 413807 w 488325"/>
                  <a:gd name="connsiteY15" fmla="*/ 327162 h 616361"/>
                  <a:gd name="connsiteX16" fmla="*/ 413807 w 488325"/>
                  <a:gd name="connsiteY16" fmla="*/ 296317 h 616361"/>
                  <a:gd name="connsiteX17" fmla="*/ 283399 w 488325"/>
                  <a:gd name="connsiteY17" fmla="*/ 310553 h 616361"/>
                  <a:gd name="connsiteX18" fmla="*/ 76013 w 488325"/>
                  <a:gd name="connsiteY18" fmla="*/ 446849 h 616361"/>
                  <a:gd name="connsiteX19" fmla="*/ 211078 w 488325"/>
                  <a:gd name="connsiteY19" fmla="*/ 549927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8325" h="616361">
                    <a:moveTo>
                      <a:pt x="176" y="449221"/>
                    </a:moveTo>
                    <a:cubicBezTo>
                      <a:pt x="176" y="327162"/>
                      <a:pt x="84361" y="270218"/>
                      <a:pt x="278654" y="250095"/>
                    </a:cubicBezTo>
                    <a:lnTo>
                      <a:pt x="413807" y="235859"/>
                    </a:lnTo>
                    <a:lnTo>
                      <a:pt x="413807" y="209760"/>
                    </a:lnTo>
                    <a:cubicBezTo>
                      <a:pt x="413807" y="122060"/>
                      <a:pt x="347461" y="66346"/>
                      <a:pt x="251413" y="66346"/>
                    </a:cubicBezTo>
                    <a:cubicBezTo>
                      <a:pt x="155364" y="66346"/>
                      <a:pt x="94994" y="119687"/>
                      <a:pt x="81900" y="209760"/>
                    </a:cubicBezTo>
                    <a:lnTo>
                      <a:pt x="4833" y="209760"/>
                    </a:lnTo>
                    <a:cubicBezTo>
                      <a:pt x="21441" y="93588"/>
                      <a:pt x="111514" y="0"/>
                      <a:pt x="251325" y="0"/>
                    </a:cubicBezTo>
                    <a:cubicBezTo>
                      <a:pt x="391135" y="0"/>
                      <a:pt x="488326" y="84185"/>
                      <a:pt x="488326" y="215735"/>
                    </a:cubicBezTo>
                    <a:lnTo>
                      <a:pt x="488326" y="606871"/>
                    </a:lnTo>
                    <a:lnTo>
                      <a:pt x="413631" y="606871"/>
                    </a:lnTo>
                    <a:lnTo>
                      <a:pt x="413631" y="483581"/>
                    </a:lnTo>
                    <a:cubicBezTo>
                      <a:pt x="392277" y="558275"/>
                      <a:pt x="304577" y="616361"/>
                      <a:pt x="206245" y="616361"/>
                    </a:cubicBezTo>
                    <a:cubicBezTo>
                      <a:pt x="79440" y="616361"/>
                      <a:pt x="0" y="551157"/>
                      <a:pt x="0" y="449221"/>
                    </a:cubicBezTo>
                    <a:close/>
                    <a:moveTo>
                      <a:pt x="211166" y="549927"/>
                    </a:moveTo>
                    <a:cubicBezTo>
                      <a:pt x="332082" y="549927"/>
                      <a:pt x="413807" y="458712"/>
                      <a:pt x="413807" y="327162"/>
                    </a:cubicBezTo>
                    <a:lnTo>
                      <a:pt x="413807" y="296317"/>
                    </a:lnTo>
                    <a:lnTo>
                      <a:pt x="283399" y="310553"/>
                    </a:lnTo>
                    <a:cubicBezTo>
                      <a:pt x="137613" y="327162"/>
                      <a:pt x="76013" y="360379"/>
                      <a:pt x="76013" y="446849"/>
                    </a:cubicBezTo>
                    <a:cubicBezTo>
                      <a:pt x="76013" y="509680"/>
                      <a:pt x="128123" y="549927"/>
                      <a:pt x="211078" y="549927"/>
                    </a:cubicBezTo>
                    <a:close/>
                  </a:path>
                </a:pathLst>
              </a:custGeom>
              <a:solidFill>
                <a:srgbClr val="022E33"/>
              </a:solidFill>
              <a:ln w="8786" cap="flat">
                <a:noFill/>
                <a:prstDash val="solid"/>
                <a:miter/>
              </a:ln>
            </p:spPr>
            <p:txBody>
              <a:bodyPr rtlCol="0" anchor="ctr"/>
              <a:lstStyle/>
              <a:p>
                <a:endParaRPr lang="en-US"/>
              </a:p>
            </p:txBody>
          </p:sp>
          <p:sp>
            <p:nvSpPr>
              <p:cNvPr id="40" name="Freeform: Shape 21">
                <a:extLst>
                  <a:ext uri="{FF2B5EF4-FFF2-40B4-BE49-F238E27FC236}">
                    <a16:creationId xmlns:a16="http://schemas.microsoft.com/office/drawing/2014/main" id="{2CF7D10D-7D08-8A83-4705-FA9AE6670133}"/>
                  </a:ext>
                </a:extLst>
              </p:cNvPr>
              <p:cNvSpPr/>
              <p:nvPr/>
            </p:nvSpPr>
            <p:spPr>
              <a:xfrm>
                <a:off x="5792125" y="3438753"/>
                <a:ext cx="336652" cy="606782"/>
              </a:xfrm>
              <a:custGeom>
                <a:avLst/>
                <a:gdLst>
                  <a:gd name="connsiteX0" fmla="*/ 88 w 336652"/>
                  <a:gd name="connsiteY0" fmla="*/ 9491 h 606782"/>
                  <a:gd name="connsiteX1" fmla="*/ 74782 w 336652"/>
                  <a:gd name="connsiteY1" fmla="*/ 9491 h 606782"/>
                  <a:gd name="connsiteX2" fmla="*/ 74782 w 336652"/>
                  <a:gd name="connsiteY2" fmla="*/ 143413 h 606782"/>
                  <a:gd name="connsiteX3" fmla="*/ 265561 w 336652"/>
                  <a:gd name="connsiteY3" fmla="*/ 0 h 606782"/>
                  <a:gd name="connsiteX4" fmla="*/ 336652 w 336652"/>
                  <a:gd name="connsiteY4" fmla="*/ 14236 h 606782"/>
                  <a:gd name="connsiteX5" fmla="*/ 336652 w 336652"/>
                  <a:gd name="connsiteY5" fmla="*/ 85327 h 606782"/>
                  <a:gd name="connsiteX6" fmla="*/ 257212 w 336652"/>
                  <a:gd name="connsiteY6" fmla="*/ 69949 h 606782"/>
                  <a:gd name="connsiteX7" fmla="*/ 74694 w 336652"/>
                  <a:gd name="connsiteY7" fmla="*/ 367409 h 606782"/>
                  <a:gd name="connsiteX8" fmla="*/ 74694 w 336652"/>
                  <a:gd name="connsiteY8" fmla="*/ 606783 h 606782"/>
                  <a:gd name="connsiteX9" fmla="*/ 0 w 336652"/>
                  <a:gd name="connsiteY9" fmla="*/ 606783 h 606782"/>
                  <a:gd name="connsiteX10" fmla="*/ 0 w 336652"/>
                  <a:gd name="connsiteY10" fmla="*/ 9491 h 60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652" h="606782">
                    <a:moveTo>
                      <a:pt x="88" y="9491"/>
                    </a:moveTo>
                    <a:lnTo>
                      <a:pt x="74782" y="9491"/>
                    </a:lnTo>
                    <a:lnTo>
                      <a:pt x="74782" y="143413"/>
                    </a:lnTo>
                    <a:cubicBezTo>
                      <a:pt x="104396" y="55713"/>
                      <a:pt x="179091" y="0"/>
                      <a:pt x="265561" y="0"/>
                    </a:cubicBezTo>
                    <a:cubicBezTo>
                      <a:pt x="290429" y="0"/>
                      <a:pt x="317671" y="4745"/>
                      <a:pt x="336652" y="14236"/>
                    </a:cubicBezTo>
                    <a:lnTo>
                      <a:pt x="336652" y="85327"/>
                    </a:lnTo>
                    <a:cubicBezTo>
                      <a:pt x="305808" y="73464"/>
                      <a:pt x="279797" y="69949"/>
                      <a:pt x="257212" y="69949"/>
                    </a:cubicBezTo>
                    <a:cubicBezTo>
                      <a:pt x="150531" y="69949"/>
                      <a:pt x="74694" y="181376"/>
                      <a:pt x="74694" y="367409"/>
                    </a:cubicBezTo>
                    <a:lnTo>
                      <a:pt x="74694" y="606783"/>
                    </a:lnTo>
                    <a:lnTo>
                      <a:pt x="0" y="606783"/>
                    </a:lnTo>
                    <a:lnTo>
                      <a:pt x="0" y="9491"/>
                    </a:lnTo>
                    <a:close/>
                  </a:path>
                </a:pathLst>
              </a:custGeom>
              <a:solidFill>
                <a:srgbClr val="022E33"/>
              </a:solidFill>
              <a:ln w="8786" cap="flat">
                <a:noFill/>
                <a:prstDash val="solid"/>
                <a:miter/>
              </a:ln>
            </p:spPr>
            <p:txBody>
              <a:bodyPr rtlCol="0" anchor="ctr"/>
              <a:lstStyle/>
              <a:p>
                <a:endParaRPr lang="en-US"/>
              </a:p>
            </p:txBody>
          </p:sp>
          <p:sp>
            <p:nvSpPr>
              <p:cNvPr id="41" name="Freeform: Shape 22">
                <a:extLst>
                  <a:ext uri="{FF2B5EF4-FFF2-40B4-BE49-F238E27FC236}">
                    <a16:creationId xmlns:a16="http://schemas.microsoft.com/office/drawing/2014/main" id="{3E961C8F-080C-81C5-6A55-F1333502F4B8}"/>
                  </a:ext>
                </a:extLst>
              </p:cNvPr>
              <p:cNvSpPr/>
              <p:nvPr/>
            </p:nvSpPr>
            <p:spPr>
              <a:xfrm>
                <a:off x="6210590" y="3206410"/>
                <a:ext cx="508361" cy="839126"/>
              </a:xfrm>
              <a:custGeom>
                <a:avLst/>
                <a:gdLst>
                  <a:gd name="connsiteX0" fmla="*/ 167052 w 508361"/>
                  <a:gd name="connsiteY0" fmla="*/ 521543 h 839126"/>
                  <a:gd name="connsiteX1" fmla="*/ 75837 w 508361"/>
                  <a:gd name="connsiteY1" fmla="*/ 602125 h 839126"/>
                  <a:gd name="connsiteX2" fmla="*/ 75837 w 508361"/>
                  <a:gd name="connsiteY2" fmla="*/ 839126 h 839126"/>
                  <a:gd name="connsiteX3" fmla="*/ 0 w 508361"/>
                  <a:gd name="connsiteY3" fmla="*/ 839126 h 839126"/>
                  <a:gd name="connsiteX4" fmla="*/ 0 w 508361"/>
                  <a:gd name="connsiteY4" fmla="*/ 0 h 839126"/>
                  <a:gd name="connsiteX5" fmla="*/ 75837 w 508361"/>
                  <a:gd name="connsiteY5" fmla="*/ 0 h 839126"/>
                  <a:gd name="connsiteX6" fmla="*/ 75837 w 508361"/>
                  <a:gd name="connsiteY6" fmla="*/ 507219 h 839126"/>
                  <a:gd name="connsiteX7" fmla="*/ 382787 w 508361"/>
                  <a:gd name="connsiteY7" fmla="*/ 241746 h 839126"/>
                  <a:gd name="connsiteX8" fmla="*/ 485865 w 508361"/>
                  <a:gd name="connsiteY8" fmla="*/ 241746 h 839126"/>
                  <a:gd name="connsiteX9" fmla="*/ 223908 w 508361"/>
                  <a:gd name="connsiteY9" fmla="*/ 472860 h 839126"/>
                  <a:gd name="connsiteX10" fmla="*/ 508362 w 508361"/>
                  <a:gd name="connsiteY10" fmla="*/ 839038 h 839126"/>
                  <a:gd name="connsiteX11" fmla="*/ 417146 w 508361"/>
                  <a:gd name="connsiteY11" fmla="*/ 839038 h 839126"/>
                  <a:gd name="connsiteX12" fmla="*/ 167052 w 508361"/>
                  <a:gd name="connsiteY12" fmla="*/ 521455 h 83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361" h="839126">
                    <a:moveTo>
                      <a:pt x="167052" y="521543"/>
                    </a:moveTo>
                    <a:lnTo>
                      <a:pt x="75837" y="602125"/>
                    </a:lnTo>
                    <a:lnTo>
                      <a:pt x="75837" y="839126"/>
                    </a:lnTo>
                    <a:lnTo>
                      <a:pt x="0" y="839126"/>
                    </a:lnTo>
                    <a:lnTo>
                      <a:pt x="0" y="0"/>
                    </a:lnTo>
                    <a:lnTo>
                      <a:pt x="75837" y="0"/>
                    </a:lnTo>
                    <a:lnTo>
                      <a:pt x="75837" y="507219"/>
                    </a:lnTo>
                    <a:lnTo>
                      <a:pt x="382787" y="241746"/>
                    </a:lnTo>
                    <a:lnTo>
                      <a:pt x="485865" y="241746"/>
                    </a:lnTo>
                    <a:lnTo>
                      <a:pt x="223908" y="472860"/>
                    </a:lnTo>
                    <a:lnTo>
                      <a:pt x="508362" y="839038"/>
                    </a:lnTo>
                    <a:lnTo>
                      <a:pt x="417146" y="839038"/>
                    </a:lnTo>
                    <a:lnTo>
                      <a:pt x="167052" y="521455"/>
                    </a:lnTo>
                    <a:close/>
                  </a:path>
                </a:pathLst>
              </a:custGeom>
              <a:solidFill>
                <a:srgbClr val="022E33"/>
              </a:solidFill>
              <a:ln w="8786" cap="flat">
                <a:noFill/>
                <a:prstDash val="solid"/>
                <a:miter/>
              </a:ln>
            </p:spPr>
            <p:txBody>
              <a:bodyPr rtlCol="0" anchor="ctr"/>
              <a:lstStyle/>
              <a:p>
                <a:endParaRPr lang="en-US"/>
              </a:p>
            </p:txBody>
          </p:sp>
          <p:sp>
            <p:nvSpPr>
              <p:cNvPr id="42" name="Freeform: Shape 23">
                <a:extLst>
                  <a:ext uri="{FF2B5EF4-FFF2-40B4-BE49-F238E27FC236}">
                    <a16:creationId xmlns:a16="http://schemas.microsoft.com/office/drawing/2014/main" id="{F832C2DB-BEB8-2B67-8762-317E79D01D49}"/>
                  </a:ext>
                </a:extLst>
              </p:cNvPr>
              <p:cNvSpPr/>
              <p:nvPr/>
            </p:nvSpPr>
            <p:spPr>
              <a:xfrm>
                <a:off x="6716666" y="3438665"/>
                <a:ext cx="556771" cy="616361"/>
              </a:xfrm>
              <a:custGeom>
                <a:avLst/>
                <a:gdLst>
                  <a:gd name="connsiteX0" fmla="*/ 0 w 556771"/>
                  <a:gd name="connsiteY0" fmla="*/ 308181 h 616361"/>
                  <a:gd name="connsiteX1" fmla="*/ 287969 w 556771"/>
                  <a:gd name="connsiteY1" fmla="*/ 0 h 616361"/>
                  <a:gd name="connsiteX2" fmla="*/ 554672 w 556771"/>
                  <a:gd name="connsiteY2" fmla="*/ 308181 h 616361"/>
                  <a:gd name="connsiteX3" fmla="*/ 75837 w 556771"/>
                  <a:gd name="connsiteY3" fmla="*/ 308181 h 616361"/>
                  <a:gd name="connsiteX4" fmla="*/ 290341 w 556771"/>
                  <a:gd name="connsiteY4" fmla="*/ 549927 h 616361"/>
                  <a:gd name="connsiteX5" fmla="*/ 474002 w 556771"/>
                  <a:gd name="connsiteY5" fmla="*/ 419607 h 616361"/>
                  <a:gd name="connsiteX6" fmla="*/ 548697 w 556771"/>
                  <a:gd name="connsiteY6" fmla="*/ 419607 h 616361"/>
                  <a:gd name="connsiteX7" fmla="*/ 292714 w 556771"/>
                  <a:gd name="connsiteY7" fmla="*/ 616361 h 616361"/>
                  <a:gd name="connsiteX8" fmla="*/ 0 w 556771"/>
                  <a:gd name="connsiteY8" fmla="*/ 308181 h 616361"/>
                  <a:gd name="connsiteX9" fmla="*/ 478835 w 556771"/>
                  <a:gd name="connsiteY9" fmla="*/ 246580 h 616361"/>
                  <a:gd name="connsiteX10" fmla="*/ 288057 w 556771"/>
                  <a:gd name="connsiteY10" fmla="*/ 66434 h 616361"/>
                  <a:gd name="connsiteX11" fmla="*/ 81812 w 556771"/>
                  <a:gd name="connsiteY11" fmla="*/ 246580 h 616361"/>
                  <a:gd name="connsiteX12" fmla="*/ 478835 w 556771"/>
                  <a:gd name="connsiteY12" fmla="*/ 246580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771" h="616361">
                    <a:moveTo>
                      <a:pt x="0" y="308181"/>
                    </a:moveTo>
                    <a:cubicBezTo>
                      <a:pt x="0" y="128035"/>
                      <a:pt x="120917" y="0"/>
                      <a:pt x="287969" y="0"/>
                    </a:cubicBezTo>
                    <a:cubicBezTo>
                      <a:pt x="463369" y="0"/>
                      <a:pt x="573566" y="135153"/>
                      <a:pt x="554672" y="308181"/>
                    </a:cubicBezTo>
                    <a:lnTo>
                      <a:pt x="75837" y="308181"/>
                    </a:lnTo>
                    <a:cubicBezTo>
                      <a:pt x="74694" y="451594"/>
                      <a:pt x="161164" y="549927"/>
                      <a:pt x="290341" y="549927"/>
                    </a:cubicBezTo>
                    <a:cubicBezTo>
                      <a:pt x="392278" y="549927"/>
                      <a:pt x="453879" y="496586"/>
                      <a:pt x="474002" y="419607"/>
                    </a:cubicBezTo>
                    <a:lnTo>
                      <a:pt x="548697" y="419607"/>
                    </a:lnTo>
                    <a:cubicBezTo>
                      <a:pt x="528573" y="532176"/>
                      <a:pt x="430152" y="616361"/>
                      <a:pt x="292714" y="616361"/>
                    </a:cubicBezTo>
                    <a:cubicBezTo>
                      <a:pt x="122060" y="616361"/>
                      <a:pt x="0" y="488326"/>
                      <a:pt x="0" y="308181"/>
                    </a:cubicBezTo>
                    <a:close/>
                    <a:moveTo>
                      <a:pt x="478835" y="246580"/>
                    </a:moveTo>
                    <a:cubicBezTo>
                      <a:pt x="480066" y="137526"/>
                      <a:pt x="400626" y="66434"/>
                      <a:pt x="288057" y="66434"/>
                    </a:cubicBezTo>
                    <a:cubicBezTo>
                      <a:pt x="175488" y="66434"/>
                      <a:pt x="102024" y="132780"/>
                      <a:pt x="81812" y="246580"/>
                    </a:cubicBezTo>
                    <a:lnTo>
                      <a:pt x="478835" y="246580"/>
                    </a:lnTo>
                    <a:close/>
                  </a:path>
                </a:pathLst>
              </a:custGeom>
              <a:solidFill>
                <a:srgbClr val="022E33"/>
              </a:solidFill>
              <a:ln w="8786" cap="flat">
                <a:noFill/>
                <a:prstDash val="solid"/>
                <a:miter/>
              </a:ln>
            </p:spPr>
            <p:txBody>
              <a:bodyPr rtlCol="0" anchor="ctr"/>
              <a:lstStyle/>
              <a:p>
                <a:endParaRPr lang="en-US"/>
              </a:p>
            </p:txBody>
          </p:sp>
          <p:sp>
            <p:nvSpPr>
              <p:cNvPr id="43" name="Freeform: Shape 24">
                <a:extLst>
                  <a:ext uri="{FF2B5EF4-FFF2-40B4-BE49-F238E27FC236}">
                    <a16:creationId xmlns:a16="http://schemas.microsoft.com/office/drawing/2014/main" id="{433CBE50-CC15-D9FC-91B3-FF2871899414}"/>
                  </a:ext>
                </a:extLst>
              </p:cNvPr>
              <p:cNvSpPr/>
              <p:nvPr/>
            </p:nvSpPr>
            <p:spPr>
              <a:xfrm>
                <a:off x="7311586" y="3292879"/>
                <a:ext cx="337794" cy="762147"/>
              </a:xfrm>
              <a:custGeom>
                <a:avLst/>
                <a:gdLst>
                  <a:gd name="connsiteX0" fmla="*/ 104309 w 337794"/>
                  <a:gd name="connsiteY0" fmla="*/ 587889 h 762147"/>
                  <a:gd name="connsiteX1" fmla="*/ 104309 w 337794"/>
                  <a:gd name="connsiteY1" fmla="*/ 218108 h 762147"/>
                  <a:gd name="connsiteX2" fmla="*/ 0 w 337794"/>
                  <a:gd name="connsiteY2" fmla="*/ 218108 h 762147"/>
                  <a:gd name="connsiteX3" fmla="*/ 0 w 337794"/>
                  <a:gd name="connsiteY3" fmla="*/ 155277 h 762147"/>
                  <a:gd name="connsiteX4" fmla="*/ 104309 w 337794"/>
                  <a:gd name="connsiteY4" fmla="*/ 155277 h 762147"/>
                  <a:gd name="connsiteX5" fmla="*/ 104309 w 337794"/>
                  <a:gd name="connsiteY5" fmla="*/ 0 h 762147"/>
                  <a:gd name="connsiteX6" fmla="*/ 179003 w 337794"/>
                  <a:gd name="connsiteY6" fmla="*/ 0 h 762147"/>
                  <a:gd name="connsiteX7" fmla="*/ 179003 w 337794"/>
                  <a:gd name="connsiteY7" fmla="*/ 155277 h 762147"/>
                  <a:gd name="connsiteX8" fmla="*/ 336652 w 337794"/>
                  <a:gd name="connsiteY8" fmla="*/ 155277 h 762147"/>
                  <a:gd name="connsiteX9" fmla="*/ 336652 w 337794"/>
                  <a:gd name="connsiteY9" fmla="*/ 218108 h 762147"/>
                  <a:gd name="connsiteX10" fmla="*/ 179003 w 337794"/>
                  <a:gd name="connsiteY10" fmla="*/ 218108 h 762147"/>
                  <a:gd name="connsiteX11" fmla="*/ 179003 w 337794"/>
                  <a:gd name="connsiteY11" fmla="*/ 583144 h 762147"/>
                  <a:gd name="connsiteX12" fmla="*/ 270218 w 337794"/>
                  <a:gd name="connsiteY12" fmla="*/ 694571 h 762147"/>
                  <a:gd name="connsiteX13" fmla="*/ 337795 w 337794"/>
                  <a:gd name="connsiteY13" fmla="*/ 682707 h 762147"/>
                  <a:gd name="connsiteX14" fmla="*/ 337795 w 337794"/>
                  <a:gd name="connsiteY14" fmla="*/ 747911 h 762147"/>
                  <a:gd name="connsiteX15" fmla="*/ 263100 w 337794"/>
                  <a:gd name="connsiteY15" fmla="*/ 762147 h 762147"/>
                  <a:gd name="connsiteX16" fmla="*/ 104309 w 337794"/>
                  <a:gd name="connsiteY16" fmla="*/ 587889 h 762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794" h="762147">
                    <a:moveTo>
                      <a:pt x="104309" y="587889"/>
                    </a:moveTo>
                    <a:lnTo>
                      <a:pt x="104309" y="218108"/>
                    </a:lnTo>
                    <a:lnTo>
                      <a:pt x="0" y="218108"/>
                    </a:lnTo>
                    <a:lnTo>
                      <a:pt x="0" y="155277"/>
                    </a:lnTo>
                    <a:lnTo>
                      <a:pt x="104309" y="155277"/>
                    </a:lnTo>
                    <a:lnTo>
                      <a:pt x="104309" y="0"/>
                    </a:lnTo>
                    <a:lnTo>
                      <a:pt x="179003" y="0"/>
                    </a:lnTo>
                    <a:lnTo>
                      <a:pt x="179003" y="155277"/>
                    </a:lnTo>
                    <a:lnTo>
                      <a:pt x="336652" y="155277"/>
                    </a:lnTo>
                    <a:lnTo>
                      <a:pt x="336652" y="218108"/>
                    </a:lnTo>
                    <a:lnTo>
                      <a:pt x="179003" y="218108"/>
                    </a:lnTo>
                    <a:lnTo>
                      <a:pt x="179003" y="583144"/>
                    </a:lnTo>
                    <a:cubicBezTo>
                      <a:pt x="179003" y="658981"/>
                      <a:pt x="215735" y="694571"/>
                      <a:pt x="270218" y="694571"/>
                    </a:cubicBezTo>
                    <a:cubicBezTo>
                      <a:pt x="292714" y="694571"/>
                      <a:pt x="318813" y="689825"/>
                      <a:pt x="337795" y="682707"/>
                    </a:cubicBezTo>
                    <a:lnTo>
                      <a:pt x="337795" y="747911"/>
                    </a:lnTo>
                    <a:cubicBezTo>
                      <a:pt x="317671" y="757402"/>
                      <a:pt x="288057" y="762147"/>
                      <a:pt x="263100" y="762147"/>
                    </a:cubicBezTo>
                    <a:cubicBezTo>
                      <a:pt x="169512" y="762147"/>
                      <a:pt x="104309" y="702919"/>
                      <a:pt x="104309" y="587889"/>
                    </a:cubicBezTo>
                    <a:close/>
                  </a:path>
                </a:pathLst>
              </a:custGeom>
              <a:solidFill>
                <a:srgbClr val="022E33"/>
              </a:solidFill>
              <a:ln w="8786" cap="flat">
                <a:noFill/>
                <a:prstDash val="solid"/>
                <a:miter/>
              </a:ln>
            </p:spPr>
            <p:txBody>
              <a:bodyPr rtlCol="0" anchor="ctr"/>
              <a:lstStyle/>
              <a:p>
                <a:endParaRPr lang="en-US"/>
              </a:p>
            </p:txBody>
          </p:sp>
          <p:sp>
            <p:nvSpPr>
              <p:cNvPr id="44" name="Freeform: Shape 25">
                <a:extLst>
                  <a:ext uri="{FF2B5EF4-FFF2-40B4-BE49-F238E27FC236}">
                    <a16:creationId xmlns:a16="http://schemas.microsoft.com/office/drawing/2014/main" id="{7F493827-04AD-493E-1419-048FBD593177}"/>
                  </a:ext>
                </a:extLst>
              </p:cNvPr>
              <p:cNvSpPr/>
              <p:nvPr/>
            </p:nvSpPr>
            <p:spPr>
              <a:xfrm>
                <a:off x="7744198" y="3438753"/>
                <a:ext cx="593864" cy="822517"/>
              </a:xfrm>
              <a:custGeom>
                <a:avLst/>
                <a:gdLst>
                  <a:gd name="connsiteX0" fmla="*/ 0 w 593864"/>
                  <a:gd name="connsiteY0" fmla="*/ 9491 h 822517"/>
                  <a:gd name="connsiteX1" fmla="*/ 74694 w 593864"/>
                  <a:gd name="connsiteY1" fmla="*/ 9491 h 822517"/>
                  <a:gd name="connsiteX2" fmla="*/ 74694 w 593864"/>
                  <a:gd name="connsiteY2" fmla="*/ 129177 h 822517"/>
                  <a:gd name="connsiteX3" fmla="*/ 299920 w 593864"/>
                  <a:gd name="connsiteY3" fmla="*/ 0 h 822517"/>
                  <a:gd name="connsiteX4" fmla="*/ 593865 w 593864"/>
                  <a:gd name="connsiteY4" fmla="*/ 308180 h 822517"/>
                  <a:gd name="connsiteX5" fmla="*/ 299920 w 593864"/>
                  <a:gd name="connsiteY5" fmla="*/ 616361 h 822517"/>
                  <a:gd name="connsiteX6" fmla="*/ 74694 w 593864"/>
                  <a:gd name="connsiteY6" fmla="*/ 485953 h 822517"/>
                  <a:gd name="connsiteX7" fmla="*/ 74694 w 593864"/>
                  <a:gd name="connsiteY7" fmla="*/ 822518 h 822517"/>
                  <a:gd name="connsiteX8" fmla="*/ 0 w 593864"/>
                  <a:gd name="connsiteY8" fmla="*/ 822518 h 822517"/>
                  <a:gd name="connsiteX9" fmla="*/ 0 w 593864"/>
                  <a:gd name="connsiteY9" fmla="*/ 9491 h 822517"/>
                  <a:gd name="connsiteX10" fmla="*/ 296318 w 593864"/>
                  <a:gd name="connsiteY10" fmla="*/ 549927 h 822517"/>
                  <a:gd name="connsiteX11" fmla="*/ 516798 w 593864"/>
                  <a:gd name="connsiteY11" fmla="*/ 308180 h 822517"/>
                  <a:gd name="connsiteX12" fmla="*/ 296318 w 593864"/>
                  <a:gd name="connsiteY12" fmla="*/ 66434 h 822517"/>
                  <a:gd name="connsiteX13" fmla="*/ 74694 w 593864"/>
                  <a:gd name="connsiteY13" fmla="*/ 308180 h 822517"/>
                  <a:gd name="connsiteX14" fmla="*/ 296318 w 593864"/>
                  <a:gd name="connsiteY14" fmla="*/ 549927 h 82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3864" h="822517">
                    <a:moveTo>
                      <a:pt x="0" y="9491"/>
                    </a:moveTo>
                    <a:lnTo>
                      <a:pt x="74694" y="9491"/>
                    </a:lnTo>
                    <a:lnTo>
                      <a:pt x="74694" y="129177"/>
                    </a:lnTo>
                    <a:cubicBezTo>
                      <a:pt x="111426" y="50968"/>
                      <a:pt x="202730" y="0"/>
                      <a:pt x="299920" y="0"/>
                    </a:cubicBezTo>
                    <a:cubicBezTo>
                      <a:pt x="475320" y="0"/>
                      <a:pt x="593865" y="124432"/>
                      <a:pt x="593865" y="308180"/>
                    </a:cubicBezTo>
                    <a:cubicBezTo>
                      <a:pt x="593865" y="491929"/>
                      <a:pt x="475320" y="616361"/>
                      <a:pt x="299920" y="616361"/>
                    </a:cubicBezTo>
                    <a:cubicBezTo>
                      <a:pt x="202730" y="616361"/>
                      <a:pt x="111514" y="563020"/>
                      <a:pt x="74694" y="485953"/>
                    </a:cubicBezTo>
                    <a:lnTo>
                      <a:pt x="74694" y="822518"/>
                    </a:lnTo>
                    <a:lnTo>
                      <a:pt x="0" y="822518"/>
                    </a:lnTo>
                    <a:lnTo>
                      <a:pt x="0" y="9491"/>
                    </a:lnTo>
                    <a:close/>
                    <a:moveTo>
                      <a:pt x="296318" y="549927"/>
                    </a:moveTo>
                    <a:cubicBezTo>
                      <a:pt x="424352" y="549927"/>
                      <a:pt x="516798" y="450364"/>
                      <a:pt x="516798" y="308180"/>
                    </a:cubicBezTo>
                    <a:cubicBezTo>
                      <a:pt x="516798" y="165997"/>
                      <a:pt x="424352" y="66434"/>
                      <a:pt x="296318" y="66434"/>
                    </a:cubicBezTo>
                    <a:cubicBezTo>
                      <a:pt x="168282" y="66434"/>
                      <a:pt x="74694" y="165997"/>
                      <a:pt x="74694" y="308180"/>
                    </a:cubicBezTo>
                    <a:cubicBezTo>
                      <a:pt x="74694" y="450364"/>
                      <a:pt x="168370" y="549927"/>
                      <a:pt x="296318" y="549927"/>
                    </a:cubicBezTo>
                    <a:close/>
                  </a:path>
                </a:pathLst>
              </a:custGeom>
              <a:solidFill>
                <a:srgbClr val="022E33"/>
              </a:solidFill>
              <a:ln w="8786" cap="flat">
                <a:noFill/>
                <a:prstDash val="solid"/>
                <a:miter/>
              </a:ln>
            </p:spPr>
            <p:txBody>
              <a:bodyPr rtlCol="0" anchor="ctr"/>
              <a:lstStyle/>
              <a:p>
                <a:endParaRPr lang="en-US"/>
              </a:p>
            </p:txBody>
          </p:sp>
          <p:sp>
            <p:nvSpPr>
              <p:cNvPr id="45" name="Freeform: Shape 26">
                <a:extLst>
                  <a:ext uri="{FF2B5EF4-FFF2-40B4-BE49-F238E27FC236}">
                    <a16:creationId xmlns:a16="http://schemas.microsoft.com/office/drawing/2014/main" id="{95BF4208-A035-C10E-8586-7F7CC0F8C7E0}"/>
                  </a:ext>
                </a:extLst>
              </p:cNvPr>
              <p:cNvSpPr/>
              <p:nvPr/>
            </p:nvSpPr>
            <p:spPr>
              <a:xfrm>
                <a:off x="8460035" y="3206410"/>
                <a:ext cx="75836" cy="839126"/>
              </a:xfrm>
              <a:custGeom>
                <a:avLst/>
                <a:gdLst>
                  <a:gd name="connsiteX0" fmla="*/ 0 w 75836"/>
                  <a:gd name="connsiteY0" fmla="*/ 0 h 839126"/>
                  <a:gd name="connsiteX1" fmla="*/ 75837 w 75836"/>
                  <a:gd name="connsiteY1" fmla="*/ 0 h 839126"/>
                  <a:gd name="connsiteX2" fmla="*/ 75837 w 75836"/>
                  <a:gd name="connsiteY2" fmla="*/ 839126 h 839126"/>
                  <a:gd name="connsiteX3" fmla="*/ 0 w 75836"/>
                  <a:gd name="connsiteY3" fmla="*/ 839126 h 839126"/>
                  <a:gd name="connsiteX4" fmla="*/ 0 w 75836"/>
                  <a:gd name="connsiteY4" fmla="*/ 0 h 83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6" h="839126">
                    <a:moveTo>
                      <a:pt x="0" y="0"/>
                    </a:moveTo>
                    <a:lnTo>
                      <a:pt x="75837" y="0"/>
                    </a:lnTo>
                    <a:lnTo>
                      <a:pt x="75837" y="839126"/>
                    </a:lnTo>
                    <a:lnTo>
                      <a:pt x="0" y="839126"/>
                    </a:lnTo>
                    <a:lnTo>
                      <a:pt x="0" y="0"/>
                    </a:lnTo>
                    <a:close/>
                  </a:path>
                </a:pathLst>
              </a:custGeom>
              <a:solidFill>
                <a:srgbClr val="022E33"/>
              </a:solidFill>
              <a:ln w="8786" cap="flat">
                <a:noFill/>
                <a:prstDash val="solid"/>
                <a:miter/>
              </a:ln>
            </p:spPr>
            <p:txBody>
              <a:bodyPr rtlCol="0" anchor="ctr"/>
              <a:lstStyle/>
              <a:p>
                <a:endParaRPr lang="en-US"/>
              </a:p>
            </p:txBody>
          </p:sp>
          <p:sp>
            <p:nvSpPr>
              <p:cNvPr id="46" name="Freeform: Shape 27">
                <a:extLst>
                  <a:ext uri="{FF2B5EF4-FFF2-40B4-BE49-F238E27FC236}">
                    <a16:creationId xmlns:a16="http://schemas.microsoft.com/office/drawing/2014/main" id="{040DC7F9-89FB-946B-1736-4FC6B3578D16}"/>
                  </a:ext>
                </a:extLst>
              </p:cNvPr>
              <p:cNvSpPr/>
              <p:nvPr/>
            </p:nvSpPr>
            <p:spPr>
              <a:xfrm>
                <a:off x="8668476" y="3438665"/>
                <a:ext cx="488325" cy="616361"/>
              </a:xfrm>
              <a:custGeom>
                <a:avLst/>
                <a:gdLst>
                  <a:gd name="connsiteX0" fmla="*/ 176 w 488325"/>
                  <a:gd name="connsiteY0" fmla="*/ 449221 h 616361"/>
                  <a:gd name="connsiteX1" fmla="*/ 278654 w 488325"/>
                  <a:gd name="connsiteY1" fmla="*/ 250095 h 616361"/>
                  <a:gd name="connsiteX2" fmla="*/ 413807 w 488325"/>
                  <a:gd name="connsiteY2" fmla="*/ 235859 h 616361"/>
                  <a:gd name="connsiteX3" fmla="*/ 413807 w 488325"/>
                  <a:gd name="connsiteY3" fmla="*/ 209760 h 616361"/>
                  <a:gd name="connsiteX4" fmla="*/ 251413 w 488325"/>
                  <a:gd name="connsiteY4" fmla="*/ 66346 h 616361"/>
                  <a:gd name="connsiteX5" fmla="*/ 81900 w 488325"/>
                  <a:gd name="connsiteY5" fmla="*/ 209760 h 616361"/>
                  <a:gd name="connsiteX6" fmla="*/ 4833 w 488325"/>
                  <a:gd name="connsiteY6" fmla="*/ 209760 h 616361"/>
                  <a:gd name="connsiteX7" fmla="*/ 251325 w 488325"/>
                  <a:gd name="connsiteY7" fmla="*/ 0 h 616361"/>
                  <a:gd name="connsiteX8" fmla="*/ 488326 w 488325"/>
                  <a:gd name="connsiteY8" fmla="*/ 215735 h 616361"/>
                  <a:gd name="connsiteX9" fmla="*/ 488326 w 488325"/>
                  <a:gd name="connsiteY9" fmla="*/ 606871 h 616361"/>
                  <a:gd name="connsiteX10" fmla="*/ 413632 w 488325"/>
                  <a:gd name="connsiteY10" fmla="*/ 606871 h 616361"/>
                  <a:gd name="connsiteX11" fmla="*/ 413632 w 488325"/>
                  <a:gd name="connsiteY11" fmla="*/ 483581 h 616361"/>
                  <a:gd name="connsiteX12" fmla="*/ 206245 w 488325"/>
                  <a:gd name="connsiteY12" fmla="*/ 616361 h 616361"/>
                  <a:gd name="connsiteX13" fmla="*/ 0 w 488325"/>
                  <a:gd name="connsiteY13" fmla="*/ 449221 h 616361"/>
                  <a:gd name="connsiteX14" fmla="*/ 211166 w 488325"/>
                  <a:gd name="connsiteY14" fmla="*/ 549927 h 616361"/>
                  <a:gd name="connsiteX15" fmla="*/ 413807 w 488325"/>
                  <a:gd name="connsiteY15" fmla="*/ 327162 h 616361"/>
                  <a:gd name="connsiteX16" fmla="*/ 413807 w 488325"/>
                  <a:gd name="connsiteY16" fmla="*/ 296317 h 616361"/>
                  <a:gd name="connsiteX17" fmla="*/ 283399 w 488325"/>
                  <a:gd name="connsiteY17" fmla="*/ 310553 h 616361"/>
                  <a:gd name="connsiteX18" fmla="*/ 76013 w 488325"/>
                  <a:gd name="connsiteY18" fmla="*/ 446849 h 616361"/>
                  <a:gd name="connsiteX19" fmla="*/ 211078 w 488325"/>
                  <a:gd name="connsiteY19" fmla="*/ 549927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8325" h="616361">
                    <a:moveTo>
                      <a:pt x="176" y="449221"/>
                    </a:moveTo>
                    <a:cubicBezTo>
                      <a:pt x="176" y="327162"/>
                      <a:pt x="84361" y="270218"/>
                      <a:pt x="278654" y="250095"/>
                    </a:cubicBezTo>
                    <a:lnTo>
                      <a:pt x="413807" y="235859"/>
                    </a:lnTo>
                    <a:lnTo>
                      <a:pt x="413807" y="209760"/>
                    </a:lnTo>
                    <a:cubicBezTo>
                      <a:pt x="413807" y="122060"/>
                      <a:pt x="347461" y="66346"/>
                      <a:pt x="251413" y="66346"/>
                    </a:cubicBezTo>
                    <a:cubicBezTo>
                      <a:pt x="155364" y="66346"/>
                      <a:pt x="94994" y="119687"/>
                      <a:pt x="81900" y="209760"/>
                    </a:cubicBezTo>
                    <a:lnTo>
                      <a:pt x="4833" y="209760"/>
                    </a:lnTo>
                    <a:cubicBezTo>
                      <a:pt x="21442" y="93588"/>
                      <a:pt x="111514" y="0"/>
                      <a:pt x="251325" y="0"/>
                    </a:cubicBezTo>
                    <a:cubicBezTo>
                      <a:pt x="391135" y="0"/>
                      <a:pt x="488326" y="84185"/>
                      <a:pt x="488326" y="215735"/>
                    </a:cubicBezTo>
                    <a:lnTo>
                      <a:pt x="488326" y="606871"/>
                    </a:lnTo>
                    <a:lnTo>
                      <a:pt x="413632" y="606871"/>
                    </a:lnTo>
                    <a:lnTo>
                      <a:pt x="413632" y="483581"/>
                    </a:lnTo>
                    <a:cubicBezTo>
                      <a:pt x="392278" y="558275"/>
                      <a:pt x="304578" y="616361"/>
                      <a:pt x="206245" y="616361"/>
                    </a:cubicBezTo>
                    <a:cubicBezTo>
                      <a:pt x="79440" y="616361"/>
                      <a:pt x="0" y="551157"/>
                      <a:pt x="0" y="449221"/>
                    </a:cubicBezTo>
                    <a:close/>
                    <a:moveTo>
                      <a:pt x="211166" y="549927"/>
                    </a:moveTo>
                    <a:cubicBezTo>
                      <a:pt x="332083" y="549927"/>
                      <a:pt x="413807" y="458712"/>
                      <a:pt x="413807" y="327162"/>
                    </a:cubicBezTo>
                    <a:lnTo>
                      <a:pt x="413807" y="296317"/>
                    </a:lnTo>
                    <a:lnTo>
                      <a:pt x="283399" y="310553"/>
                    </a:lnTo>
                    <a:cubicBezTo>
                      <a:pt x="137614" y="327162"/>
                      <a:pt x="76013" y="360379"/>
                      <a:pt x="76013" y="446849"/>
                    </a:cubicBezTo>
                    <a:cubicBezTo>
                      <a:pt x="76013" y="509680"/>
                      <a:pt x="128123" y="549927"/>
                      <a:pt x="211078" y="549927"/>
                    </a:cubicBezTo>
                    <a:close/>
                  </a:path>
                </a:pathLst>
              </a:custGeom>
              <a:solidFill>
                <a:srgbClr val="022E33"/>
              </a:solidFill>
              <a:ln w="8786" cap="flat">
                <a:noFill/>
                <a:prstDash val="solid"/>
                <a:miter/>
              </a:ln>
            </p:spPr>
            <p:txBody>
              <a:bodyPr rtlCol="0" anchor="ctr"/>
              <a:lstStyle/>
              <a:p>
                <a:endParaRPr lang="en-US"/>
              </a:p>
            </p:txBody>
          </p:sp>
          <p:sp>
            <p:nvSpPr>
              <p:cNvPr id="47" name="Freeform: Shape 28">
                <a:extLst>
                  <a:ext uri="{FF2B5EF4-FFF2-40B4-BE49-F238E27FC236}">
                    <a16:creationId xmlns:a16="http://schemas.microsoft.com/office/drawing/2014/main" id="{44D0A63F-FD0E-2C1D-9D6D-176AE05CAAA0}"/>
                  </a:ext>
                </a:extLst>
              </p:cNvPr>
              <p:cNvSpPr/>
              <p:nvPr/>
            </p:nvSpPr>
            <p:spPr>
              <a:xfrm>
                <a:off x="9270689" y="3438665"/>
                <a:ext cx="555814" cy="616185"/>
              </a:xfrm>
              <a:custGeom>
                <a:avLst/>
                <a:gdLst>
                  <a:gd name="connsiteX0" fmla="*/ 0 w 555814"/>
                  <a:gd name="connsiteY0" fmla="*/ 308181 h 616185"/>
                  <a:gd name="connsiteX1" fmla="*/ 290341 w 555814"/>
                  <a:gd name="connsiteY1" fmla="*/ 0 h 616185"/>
                  <a:gd name="connsiteX2" fmla="*/ 549926 w 555814"/>
                  <a:gd name="connsiteY2" fmla="*/ 197896 h 616185"/>
                  <a:gd name="connsiteX3" fmla="*/ 475232 w 555814"/>
                  <a:gd name="connsiteY3" fmla="*/ 197896 h 616185"/>
                  <a:gd name="connsiteX4" fmla="*/ 290341 w 555814"/>
                  <a:gd name="connsiteY4" fmla="*/ 66346 h 616185"/>
                  <a:gd name="connsiteX5" fmla="*/ 76979 w 555814"/>
                  <a:gd name="connsiteY5" fmla="*/ 308093 h 616185"/>
                  <a:gd name="connsiteX6" fmla="*/ 290341 w 555814"/>
                  <a:gd name="connsiteY6" fmla="*/ 549839 h 616185"/>
                  <a:gd name="connsiteX7" fmla="*/ 481120 w 555814"/>
                  <a:gd name="connsiteY7" fmla="*/ 406426 h 616185"/>
                  <a:gd name="connsiteX8" fmla="*/ 555815 w 555814"/>
                  <a:gd name="connsiteY8" fmla="*/ 406426 h 616185"/>
                  <a:gd name="connsiteX9" fmla="*/ 290341 w 555814"/>
                  <a:gd name="connsiteY9" fmla="*/ 616185 h 616185"/>
                  <a:gd name="connsiteX10" fmla="*/ 0 w 555814"/>
                  <a:gd name="connsiteY10" fmla="*/ 308005 h 61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5814" h="616185">
                    <a:moveTo>
                      <a:pt x="0" y="308181"/>
                    </a:moveTo>
                    <a:cubicBezTo>
                      <a:pt x="0" y="130408"/>
                      <a:pt x="123289" y="0"/>
                      <a:pt x="290341" y="0"/>
                    </a:cubicBezTo>
                    <a:cubicBezTo>
                      <a:pt x="432524" y="0"/>
                      <a:pt x="529715" y="81812"/>
                      <a:pt x="549926" y="197896"/>
                    </a:cubicBezTo>
                    <a:lnTo>
                      <a:pt x="475232" y="197896"/>
                    </a:lnTo>
                    <a:cubicBezTo>
                      <a:pt x="456251" y="118457"/>
                      <a:pt x="385159" y="66346"/>
                      <a:pt x="290341" y="66346"/>
                    </a:cubicBezTo>
                    <a:cubicBezTo>
                      <a:pt x="168282" y="66346"/>
                      <a:pt x="76979" y="167052"/>
                      <a:pt x="76979" y="308093"/>
                    </a:cubicBezTo>
                    <a:cubicBezTo>
                      <a:pt x="76979" y="449133"/>
                      <a:pt x="168194" y="549839"/>
                      <a:pt x="290341" y="549839"/>
                    </a:cubicBezTo>
                    <a:cubicBezTo>
                      <a:pt x="393420" y="549839"/>
                      <a:pt x="468114" y="489380"/>
                      <a:pt x="481120" y="406426"/>
                    </a:cubicBezTo>
                    <a:lnTo>
                      <a:pt x="555815" y="406426"/>
                    </a:lnTo>
                    <a:cubicBezTo>
                      <a:pt x="539206" y="522598"/>
                      <a:pt x="434897" y="616185"/>
                      <a:pt x="290341" y="616185"/>
                    </a:cubicBezTo>
                    <a:cubicBezTo>
                      <a:pt x="123202" y="616185"/>
                      <a:pt x="0" y="484635"/>
                      <a:pt x="0" y="308005"/>
                    </a:cubicBezTo>
                    <a:close/>
                  </a:path>
                </a:pathLst>
              </a:custGeom>
              <a:solidFill>
                <a:srgbClr val="022E33"/>
              </a:solidFill>
              <a:ln w="8786" cap="flat">
                <a:noFill/>
                <a:prstDash val="solid"/>
                <a:miter/>
              </a:ln>
            </p:spPr>
            <p:txBody>
              <a:bodyPr rtlCol="0" anchor="ctr"/>
              <a:lstStyle/>
              <a:p>
                <a:endParaRPr lang="en-US"/>
              </a:p>
            </p:txBody>
          </p:sp>
          <p:sp>
            <p:nvSpPr>
              <p:cNvPr id="48" name="Freeform: Shape 29">
                <a:extLst>
                  <a:ext uri="{FF2B5EF4-FFF2-40B4-BE49-F238E27FC236}">
                    <a16:creationId xmlns:a16="http://schemas.microsoft.com/office/drawing/2014/main" id="{78E207CA-E26C-6809-7F6B-20A98539CA83}"/>
                  </a:ext>
                </a:extLst>
              </p:cNvPr>
              <p:cNvSpPr/>
              <p:nvPr/>
            </p:nvSpPr>
            <p:spPr>
              <a:xfrm>
                <a:off x="9898825" y="3438665"/>
                <a:ext cx="556771" cy="616361"/>
              </a:xfrm>
              <a:custGeom>
                <a:avLst/>
                <a:gdLst>
                  <a:gd name="connsiteX0" fmla="*/ 0 w 556771"/>
                  <a:gd name="connsiteY0" fmla="*/ 308181 h 616361"/>
                  <a:gd name="connsiteX1" fmla="*/ 287969 w 556771"/>
                  <a:gd name="connsiteY1" fmla="*/ 0 h 616361"/>
                  <a:gd name="connsiteX2" fmla="*/ 554672 w 556771"/>
                  <a:gd name="connsiteY2" fmla="*/ 308181 h 616361"/>
                  <a:gd name="connsiteX3" fmla="*/ 75837 w 556771"/>
                  <a:gd name="connsiteY3" fmla="*/ 308181 h 616361"/>
                  <a:gd name="connsiteX4" fmla="*/ 290341 w 556771"/>
                  <a:gd name="connsiteY4" fmla="*/ 549927 h 616361"/>
                  <a:gd name="connsiteX5" fmla="*/ 474002 w 556771"/>
                  <a:gd name="connsiteY5" fmla="*/ 419607 h 616361"/>
                  <a:gd name="connsiteX6" fmla="*/ 548697 w 556771"/>
                  <a:gd name="connsiteY6" fmla="*/ 419607 h 616361"/>
                  <a:gd name="connsiteX7" fmla="*/ 292714 w 556771"/>
                  <a:gd name="connsiteY7" fmla="*/ 616361 h 616361"/>
                  <a:gd name="connsiteX8" fmla="*/ 0 w 556771"/>
                  <a:gd name="connsiteY8" fmla="*/ 308181 h 616361"/>
                  <a:gd name="connsiteX9" fmla="*/ 478835 w 556771"/>
                  <a:gd name="connsiteY9" fmla="*/ 246580 h 616361"/>
                  <a:gd name="connsiteX10" fmla="*/ 288057 w 556771"/>
                  <a:gd name="connsiteY10" fmla="*/ 66434 h 616361"/>
                  <a:gd name="connsiteX11" fmla="*/ 81812 w 556771"/>
                  <a:gd name="connsiteY11" fmla="*/ 246580 h 616361"/>
                  <a:gd name="connsiteX12" fmla="*/ 478835 w 556771"/>
                  <a:gd name="connsiteY12" fmla="*/ 246580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771" h="616361">
                    <a:moveTo>
                      <a:pt x="0" y="308181"/>
                    </a:moveTo>
                    <a:cubicBezTo>
                      <a:pt x="0" y="128035"/>
                      <a:pt x="120917" y="0"/>
                      <a:pt x="287969" y="0"/>
                    </a:cubicBezTo>
                    <a:cubicBezTo>
                      <a:pt x="463369" y="0"/>
                      <a:pt x="573566" y="135153"/>
                      <a:pt x="554672" y="308181"/>
                    </a:cubicBezTo>
                    <a:lnTo>
                      <a:pt x="75837" y="308181"/>
                    </a:lnTo>
                    <a:cubicBezTo>
                      <a:pt x="74694" y="451594"/>
                      <a:pt x="161164" y="549927"/>
                      <a:pt x="290341" y="549927"/>
                    </a:cubicBezTo>
                    <a:cubicBezTo>
                      <a:pt x="392278" y="549927"/>
                      <a:pt x="453879" y="496586"/>
                      <a:pt x="474002" y="419607"/>
                    </a:cubicBezTo>
                    <a:lnTo>
                      <a:pt x="548697" y="419607"/>
                    </a:lnTo>
                    <a:cubicBezTo>
                      <a:pt x="528573" y="532176"/>
                      <a:pt x="430152" y="616361"/>
                      <a:pt x="292714" y="616361"/>
                    </a:cubicBezTo>
                    <a:cubicBezTo>
                      <a:pt x="122060" y="616361"/>
                      <a:pt x="0" y="488326"/>
                      <a:pt x="0" y="308181"/>
                    </a:cubicBezTo>
                    <a:close/>
                    <a:moveTo>
                      <a:pt x="478835" y="246580"/>
                    </a:moveTo>
                    <a:cubicBezTo>
                      <a:pt x="479978" y="137526"/>
                      <a:pt x="400626" y="66434"/>
                      <a:pt x="288057" y="66434"/>
                    </a:cubicBezTo>
                    <a:cubicBezTo>
                      <a:pt x="175488" y="66434"/>
                      <a:pt x="102024" y="132780"/>
                      <a:pt x="81812" y="246580"/>
                    </a:cubicBezTo>
                    <a:lnTo>
                      <a:pt x="478835" y="246580"/>
                    </a:lnTo>
                    <a:close/>
                  </a:path>
                </a:pathLst>
              </a:custGeom>
              <a:solidFill>
                <a:srgbClr val="022E33"/>
              </a:solidFill>
              <a:ln w="878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5887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30E3C8A0-7CD5-B5E1-A2B9-B053B5F2BC33}"/>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A3AD7066-27D0-085B-5E62-BDE0B72EA81D}"/>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AB39F9BC-FC56-0F72-EFD7-95DF0B93C072}"/>
              </a:ext>
            </a:extLst>
          </p:cNvPr>
          <p:cNvPicPr>
            <a:picLocks noChangeAspect="1"/>
          </p:cNvPicPr>
          <p:nvPr userDrawn="1"/>
        </p:nvPicPr>
        <p:blipFill>
          <a:blip r:embed="rId5">
            <a:alphaModFix amt="40000"/>
          </a:blip>
          <a:stretch>
            <a:fillRect/>
          </a:stretch>
        </p:blipFill>
        <p:spPr>
          <a:xfrm>
            <a:off x="9982200" y="4899118"/>
            <a:ext cx="2743200" cy="1958882"/>
          </a:xfrm>
          <a:prstGeom prst="rect">
            <a:avLst/>
          </a:prstGeom>
        </p:spPr>
      </p:pic>
      <p:sp>
        <p:nvSpPr>
          <p:cNvPr id="16" name="TekstSylinder 15">
            <a:extLst>
              <a:ext uri="{FF2B5EF4-FFF2-40B4-BE49-F238E27FC236}">
                <a16:creationId xmlns:a16="http://schemas.microsoft.com/office/drawing/2014/main" id="{E0F6F0CB-E1DC-B7B0-1D83-811275FC7252}"/>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82511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544B0E9-53E0-BBCC-2570-1021C81E621F}"/>
              </a:ext>
            </a:extLst>
          </p:cNvPr>
          <p:cNvSpPr>
            <a:spLocks noGrp="1"/>
          </p:cNvSpPr>
          <p:nvPr>
            <p:ph type="body" sz="quarter" idx="16" hasCustomPrompt="1"/>
          </p:nvPr>
        </p:nvSpPr>
        <p:spPr>
          <a:xfrm>
            <a:off x="959977" y="2072789"/>
            <a:ext cx="600022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F0A02AE8-279A-C287-A2B3-BFA73DA16B73}"/>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1628893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365D3B74-F2A0-F98C-A73F-65F3909E674D}"/>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F1347D3A-AAE8-2B52-5AB3-BBDB174040C8}"/>
              </a:ext>
            </a:extLst>
          </p:cNvPr>
          <p:cNvPicPr>
            <a:picLocks noChangeAspect="1"/>
          </p:cNvPicPr>
          <p:nvPr userDrawn="1"/>
        </p:nvPicPr>
        <p:blipFill>
          <a:blip r:embed="rId2">
            <a:alphaModFix amt="40000"/>
          </a:blip>
          <a:stretch>
            <a:fillRect/>
          </a:stretch>
        </p:blipFill>
        <p:spPr>
          <a:xfrm>
            <a:off x="9982200" y="4899118"/>
            <a:ext cx="2743200" cy="1958882"/>
          </a:xfrm>
          <a:prstGeom prst="rect">
            <a:avLst/>
          </a:prstGeom>
        </p:spPr>
      </p:pic>
      <p:pic>
        <p:nvPicPr>
          <p:cNvPr id="10" name="Bilde 9">
            <a:extLst>
              <a:ext uri="{FF2B5EF4-FFF2-40B4-BE49-F238E27FC236}">
                <a16:creationId xmlns:a16="http://schemas.microsoft.com/office/drawing/2014/main" id="{AFFDAC87-ACCF-ECDD-CA2E-A7D14342D30B}"/>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EA26B9D8-F334-003A-7658-B00F210D064B}"/>
              </a:ext>
            </a:extLst>
          </p:cNvPr>
          <p:cNvSpPr txBox="1"/>
          <p:nvPr userDrawn="1"/>
        </p:nvSpPr>
        <p:spPr>
          <a:xfrm>
            <a:off x="56335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700812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15736A9D-E119-D712-7A6C-6605C559F18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1BF7B944-EFD1-42D5-2F71-8C93423DCE1F}"/>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4064217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theme" Target="../theme/theme10.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heme" Target="../theme/theme11.xml"/><Relationship Id="rId5" Type="http://schemas.openxmlformats.org/officeDocument/2006/relationships/slideLayout" Target="../slideLayouts/slideLayout86.xml"/><Relationship Id="rId4" Type="http://schemas.openxmlformats.org/officeDocument/2006/relationships/slideLayout" Target="../slideLayouts/slideLayout85.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theme" Target="../theme/theme12.xml"/><Relationship Id="rId5" Type="http://schemas.openxmlformats.org/officeDocument/2006/relationships/slideLayout" Target="../slideLayouts/slideLayout91.xml"/><Relationship Id="rId4" Type="http://schemas.openxmlformats.org/officeDocument/2006/relationships/slideLayout" Target="../slideLayouts/slideLayout90.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theme" Target="../theme/theme13.xml"/><Relationship Id="rId5" Type="http://schemas.openxmlformats.org/officeDocument/2006/relationships/slideLayout" Target="../slideLayouts/slideLayout96.xml"/><Relationship Id="rId4" Type="http://schemas.openxmlformats.org/officeDocument/2006/relationships/slideLayout" Target="../slideLayouts/slideLayout9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theme" Target="../theme/theme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heme" Target="../theme/theme5.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6.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7.xml"/><Relationship Id="rId5" Type="http://schemas.openxmlformats.org/officeDocument/2006/relationships/slideLayout" Target="../slideLayouts/slideLayout66.xml"/><Relationship Id="rId4" Type="http://schemas.openxmlformats.org/officeDocument/2006/relationships/slideLayout" Target="../slideLayouts/slideLayout65.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heme" Target="../theme/theme8.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9.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Datumsplatzhalter 13">
            <a:extLst>
              <a:ext uri="{FF2B5EF4-FFF2-40B4-BE49-F238E27FC236}">
                <a16:creationId xmlns:a16="http://schemas.microsoft.com/office/drawing/2014/main" id="{939341B7-9C25-BE2F-8437-907A9D0916EA}"/>
              </a:ext>
            </a:extLst>
          </p:cNvPr>
          <p:cNvSpPr>
            <a:spLocks noGrp="1"/>
          </p:cNvSpPr>
          <p:nvPr>
            <p:ph type="dt" sz="half" idx="2"/>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27.08.2024</a:t>
            </a:r>
            <a:endParaRPr lang="de-DE" dirty="0"/>
          </a:p>
        </p:txBody>
      </p:sp>
      <p:sp>
        <p:nvSpPr>
          <p:cNvPr id="3" name="Fußzeilenplatzhalter 14">
            <a:extLst>
              <a:ext uri="{FF2B5EF4-FFF2-40B4-BE49-F238E27FC236}">
                <a16:creationId xmlns:a16="http://schemas.microsoft.com/office/drawing/2014/main" id="{DCCF7B06-84B9-FE82-531A-DACF216175BB}"/>
              </a:ext>
            </a:extLst>
          </p:cNvPr>
          <p:cNvSpPr>
            <a:spLocks noGrp="1"/>
          </p:cNvSpPr>
          <p:nvPr>
            <p:ph type="ftr" sz="quarter" idx="3"/>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de-DE"/>
              <a:t>Tobias Federico - Montel Analytics</a:t>
            </a:r>
            <a:endParaRPr lang="de-DE" dirty="0"/>
          </a:p>
        </p:txBody>
      </p:sp>
      <p:sp>
        <p:nvSpPr>
          <p:cNvPr id="4" name="Foliennummernplatzhalter 15">
            <a:extLst>
              <a:ext uri="{FF2B5EF4-FFF2-40B4-BE49-F238E27FC236}">
                <a16:creationId xmlns:a16="http://schemas.microsoft.com/office/drawing/2014/main" id="{39FEA0C7-A71E-9200-6BE6-C61B2AAA0195}"/>
              </a:ext>
            </a:extLst>
          </p:cNvPr>
          <p:cNvSpPr>
            <a:spLocks noGrp="1"/>
          </p:cNvSpPr>
          <p:nvPr>
            <p:ph type="sldNum" sz="quarter" idx="4"/>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267563118"/>
      </p:ext>
    </p:extLst>
  </p:cSld>
  <p:clrMap bg1="lt1" tx1="dk1" bg2="lt2" tx2="dk2" accent1="accent1" accent2="accent2" accent3="accent3" accent4="accent4" accent5="accent5" accent6="accent6" hlink="hlink" folHlink="folHlink"/>
  <p:sldLayoutIdLst>
    <p:sldLayoutId id="2147483660" r:id="rId1"/>
    <p:sldLayoutId id="2147483728" r:id="rId2"/>
    <p:sldLayoutId id="2147483747" r:id="rId3"/>
    <p:sldLayoutId id="2147483668" r:id="rId4"/>
    <p:sldLayoutId id="2147483730" r:id="rId5"/>
    <p:sldLayoutId id="2147483731" r:id="rId6"/>
    <p:sldLayoutId id="2147483729" r:id="rId7"/>
    <p:sldLayoutId id="2147483666" r:id="rId8"/>
    <p:sldLayoutId id="2147483665" r:id="rId9"/>
    <p:sldLayoutId id="2147483768" r:id="rId10"/>
    <p:sldLayoutId id="2147483770" r:id="rId11"/>
    <p:sldLayoutId id="2147483771" r:id="rId12"/>
    <p:sldLayoutId id="2147483773" r:id="rId13"/>
    <p:sldLayoutId id="2147483774" r:id="rId14"/>
    <p:sldLayoutId id="2147483775" r:id="rId15"/>
    <p:sldLayoutId id="2147483776" r:id="rId16"/>
    <p:sldLayoutId id="2147483777" r:id="rId17"/>
    <p:sldLayoutId id="2147483783" r:id="rId18"/>
    <p:sldLayoutId id="2147483789" r:id="rId19"/>
    <p:sldLayoutId id="2147483790" r:id="rId20"/>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22765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42" r:id="rId3"/>
    <p:sldLayoutId id="2147483707" r:id="rId4"/>
    <p:sldLayoutId id="2147483708"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22213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43" r:id="rId3"/>
    <p:sldLayoutId id="2147483713" r:id="rId4"/>
    <p:sldLayoutId id="2147483714"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372464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45" r:id="rId3"/>
    <p:sldLayoutId id="2147483719" r:id="rId4"/>
    <p:sldLayoutId id="2147483720"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76733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46" r:id="rId3"/>
    <p:sldLayoutId id="2147483725" r:id="rId4"/>
    <p:sldLayoutId id="2147483726"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8995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763" r:id="rId3"/>
    <p:sldLayoutId id="2147483670" r:id="rId4"/>
    <p:sldLayoutId id="2147483762" r:id="rId5"/>
    <p:sldLayoutId id="2147483669" r:id="rId6"/>
    <p:sldLayoutId id="2147483748" r:id="rId7"/>
    <p:sldLayoutId id="2147483736" r:id="rId8"/>
    <p:sldLayoutId id="2147483765" r:id="rId9"/>
    <p:sldLayoutId id="2147483764" r:id="rId10"/>
    <p:sldLayoutId id="2147483751" r:id="rId11"/>
    <p:sldLayoutId id="2147483750" r:id="rId12"/>
    <p:sldLayoutId id="2147483779" r:id="rId13"/>
    <p:sldLayoutId id="2147483781" r:id="rId14"/>
    <p:sldLayoutId id="2147483784" r:id="rId15"/>
    <p:sldLayoutId id="2147483785" r:id="rId16"/>
    <p:sldLayoutId id="2147483791" r:id="rId17"/>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487731"/>
      </p:ext>
    </p:extLst>
  </p:cSld>
  <p:clrMap bg1="lt1" tx1="dk1" bg2="lt2" tx2="dk2" accent1="accent1" accent2="accent2" accent3="accent3" accent4="accent4" accent5="accent5" accent6="accent6" hlink="hlink" folHlink="folHlink"/>
  <p:sldLayoutIdLst>
    <p:sldLayoutId id="2147483759" r:id="rId1"/>
    <p:sldLayoutId id="2147483761" r:id="rId2"/>
    <p:sldLayoutId id="2147483760" r:id="rId3"/>
    <p:sldLayoutId id="2147483756" r:id="rId4"/>
    <p:sldLayoutId id="2147483757" r:id="rId5"/>
    <p:sldLayoutId id="2147483758" r:id="rId6"/>
    <p:sldLayoutId id="2147483755" r:id="rId7"/>
    <p:sldLayoutId id="2147483754" r:id="rId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839824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49" r:id="rId5"/>
    <p:sldLayoutId id="2147483672" r:id="rId6"/>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00978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738" r:id="rId3"/>
    <p:sldLayoutId id="2147483677" r:id="rId4"/>
    <p:sldLayoutId id="2147483678"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348381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739" r:id="rId3"/>
    <p:sldLayoutId id="2147483683" r:id="rId4"/>
    <p:sldLayoutId id="2147483684"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67497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740" r:id="rId3"/>
    <p:sldLayoutId id="2147483689" r:id="rId4"/>
    <p:sldLayoutId id="2147483690"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24740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741" r:id="rId3"/>
    <p:sldLayoutId id="2147483695" r:id="rId4"/>
    <p:sldLayoutId id="2147483696"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3326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44" r:id="rId3"/>
    <p:sldLayoutId id="2147483701" r:id="rId4"/>
    <p:sldLayoutId id="2147483702"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21.xml"/><Relationship Id="rId4" Type="http://schemas.openxmlformats.org/officeDocument/2006/relationships/chart" Target="../charts/char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hyperlink" Target="mailto:josephine.steppat@montel.energy" TargetMode="Externa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customXml" Target="../../customXml/item8.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49.png"/><Relationship Id="rId4" Type="http://schemas.openxmlformats.org/officeDocument/2006/relationships/image" Target="../media/image48.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9.xml"/><Relationship Id="rId1" Type="http://schemas.openxmlformats.org/officeDocument/2006/relationships/customXml" Target="../../customXml/item5.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9.xml"/><Relationship Id="rId1" Type="http://schemas.openxmlformats.org/officeDocument/2006/relationships/customXml" Target="../../customXml/item21.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9.xml"/><Relationship Id="rId1" Type="http://schemas.openxmlformats.org/officeDocument/2006/relationships/customXml" Target="../../customXml/item23.xml"/><Relationship Id="rId5" Type="http://schemas.openxmlformats.org/officeDocument/2006/relationships/chart" Target="../charts/chart4.xml"/><Relationship Id="rId4"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9.xml"/><Relationship Id="rId1" Type="http://schemas.openxmlformats.org/officeDocument/2006/relationships/customXml" Target="../../customXml/item6.xml"/><Relationship Id="rId5" Type="http://schemas.openxmlformats.org/officeDocument/2006/relationships/chart" Target="../charts/chart6.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BD7738DD-2B1E-238B-8EF1-7B5515B199B7}"/>
              </a:ext>
            </a:extLst>
          </p:cNvPr>
          <p:cNvSpPr>
            <a:spLocks noGrp="1"/>
          </p:cNvSpPr>
          <p:nvPr>
            <p:ph type="body" sz="quarter" idx="10"/>
          </p:nvPr>
        </p:nvSpPr>
        <p:spPr/>
        <p:txBody>
          <a:bodyPr/>
          <a:lstStyle/>
          <a:p>
            <a:r>
              <a:rPr lang="en-US" b="0" i="0" dirty="0">
                <a:effectLst/>
                <a:latin typeface="-apple-system"/>
              </a:rPr>
              <a:t>Navigating Price Extremes: Evaluating PV and Wind Revenues in Volatile Energy Markets</a:t>
            </a:r>
            <a:endParaRPr lang="de-DE" dirty="0"/>
          </a:p>
        </p:txBody>
      </p:sp>
      <p:sp>
        <p:nvSpPr>
          <p:cNvPr id="4" name="Textplatzhalter 3">
            <a:extLst>
              <a:ext uri="{FF2B5EF4-FFF2-40B4-BE49-F238E27FC236}">
                <a16:creationId xmlns:a16="http://schemas.microsoft.com/office/drawing/2014/main" id="{430E1C50-202D-58C2-4A26-FD14FD87DF12}"/>
              </a:ext>
            </a:extLst>
          </p:cNvPr>
          <p:cNvSpPr>
            <a:spLocks noGrp="1"/>
          </p:cNvSpPr>
          <p:nvPr>
            <p:ph type="body" sz="quarter" idx="11"/>
          </p:nvPr>
        </p:nvSpPr>
        <p:spPr/>
        <p:txBody>
          <a:bodyPr/>
          <a:lstStyle/>
          <a:p>
            <a:r>
              <a:rPr lang="de-DE" dirty="0"/>
              <a:t>E-World Webinar, 11.02.2025, 14:00 – 14:30 PM</a:t>
            </a:r>
          </a:p>
        </p:txBody>
      </p:sp>
      <p:sp>
        <p:nvSpPr>
          <p:cNvPr id="2" name="Textfeld 1">
            <a:extLst>
              <a:ext uri="{FF2B5EF4-FFF2-40B4-BE49-F238E27FC236}">
                <a16:creationId xmlns:a16="http://schemas.microsoft.com/office/drawing/2014/main" id="{4A0FF72D-4CB4-6FB6-7B89-DDBA411A5A49}"/>
              </a:ext>
            </a:extLst>
          </p:cNvPr>
          <p:cNvSpPr txBox="1"/>
          <p:nvPr/>
        </p:nvSpPr>
        <p:spPr>
          <a:xfrm>
            <a:off x="1436071" y="5600718"/>
            <a:ext cx="6439302" cy="369332"/>
          </a:xfrm>
          <a:prstGeom prst="rect">
            <a:avLst/>
          </a:prstGeom>
          <a:noFill/>
        </p:spPr>
        <p:txBody>
          <a:bodyPr wrap="square" rtlCol="0">
            <a:spAutoFit/>
          </a:bodyPr>
          <a:lstStyle/>
          <a:p>
            <a:r>
              <a:rPr lang="de-DE" dirty="0">
                <a:solidFill>
                  <a:schemeClr val="bg1"/>
                </a:solidFill>
              </a:rPr>
              <a:t>Josephine Steppat, Analyst at Montel Analytics</a:t>
            </a:r>
          </a:p>
        </p:txBody>
      </p:sp>
    </p:spTree>
    <p:extLst>
      <p:ext uri="{BB962C8B-B14F-4D97-AF65-F5344CB8AC3E}">
        <p14:creationId xmlns:p14="http://schemas.microsoft.com/office/powerpoint/2010/main" val="26049308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E63508-1037-9C55-8F7B-2AA4DB641549}"/>
              </a:ext>
            </a:extLst>
          </p:cNvPr>
          <p:cNvSpPr>
            <a:spLocks noGrp="1"/>
          </p:cNvSpPr>
          <p:nvPr>
            <p:ph type="body" sz="quarter" idx="10"/>
          </p:nvPr>
        </p:nvSpPr>
        <p:spPr>
          <a:xfrm>
            <a:off x="959978" y="498765"/>
            <a:ext cx="9751565" cy="770638"/>
          </a:xfrm>
        </p:spPr>
        <p:txBody>
          <a:bodyPr/>
          <a:lstStyle/>
          <a:p>
            <a:r>
              <a:rPr lang="de-DE" sz="3600" dirty="0" err="1">
                <a:latin typeface="+mj-lt"/>
              </a:rPr>
              <a:t>Expected</a:t>
            </a:r>
            <a:r>
              <a:rPr lang="de-DE" sz="3600" dirty="0">
                <a:latin typeface="+mj-lt"/>
              </a:rPr>
              <a:t> </a:t>
            </a:r>
            <a:r>
              <a:rPr lang="de-DE" sz="3600" dirty="0" err="1">
                <a:latin typeface="+mj-lt"/>
              </a:rPr>
              <a:t>development</a:t>
            </a:r>
            <a:r>
              <a:rPr lang="de-DE" sz="3600" dirty="0">
                <a:latin typeface="+mj-lt"/>
              </a:rPr>
              <a:t> </a:t>
            </a:r>
            <a:r>
              <a:rPr lang="de-DE" sz="3600" dirty="0" err="1">
                <a:latin typeface="+mj-lt"/>
              </a:rPr>
              <a:t>of</a:t>
            </a:r>
            <a:r>
              <a:rPr lang="de-DE" sz="3600" dirty="0">
                <a:latin typeface="+mj-lt"/>
              </a:rPr>
              <a:t> </a:t>
            </a:r>
            <a:r>
              <a:rPr lang="de-DE" sz="3600" dirty="0" err="1">
                <a:latin typeface="+mj-lt"/>
              </a:rPr>
              <a:t>flexibility</a:t>
            </a:r>
            <a:r>
              <a:rPr lang="de-DE" sz="3600" dirty="0">
                <a:latin typeface="+mj-lt"/>
              </a:rPr>
              <a:t> options</a:t>
            </a:r>
          </a:p>
        </p:txBody>
      </p:sp>
      <p:sp>
        <p:nvSpPr>
          <p:cNvPr id="10" name="Textfeld 9">
            <a:extLst>
              <a:ext uri="{FF2B5EF4-FFF2-40B4-BE49-F238E27FC236}">
                <a16:creationId xmlns:a16="http://schemas.microsoft.com/office/drawing/2014/main" id="{31FC11CB-C468-04EE-400F-BDC2C700C101}"/>
              </a:ext>
            </a:extLst>
          </p:cNvPr>
          <p:cNvSpPr txBox="1"/>
          <p:nvPr/>
        </p:nvSpPr>
        <p:spPr>
          <a:xfrm>
            <a:off x="9294420" y="6113015"/>
            <a:ext cx="4381995" cy="246221"/>
          </a:xfrm>
          <a:prstGeom prst="rect">
            <a:avLst/>
          </a:prstGeom>
          <a:noFill/>
        </p:spPr>
        <p:txBody>
          <a:bodyPr wrap="square" rtlCol="0">
            <a:spAutoFit/>
          </a:bodyPr>
          <a:lstStyle/>
          <a:p>
            <a:r>
              <a:rPr lang="de-DE" sz="1000" dirty="0">
                <a:latin typeface="Haffer" panose="020B0504030103020203" pitchFamily="34" charset="0"/>
                <a:ea typeface="Haffer" panose="020B0504030103020203" pitchFamily="34" charset="0"/>
                <a:cs typeface="Haffer" panose="020B0504030103020203" pitchFamily="34" charset="0"/>
              </a:rPr>
              <a:t>Source: Power Price Scenario </a:t>
            </a:r>
            <a:r>
              <a:rPr lang="de-DE" sz="1000" dirty="0" err="1">
                <a:latin typeface="Haffer" panose="020B0504030103020203" pitchFamily="34" charset="0"/>
                <a:ea typeface="Haffer" panose="020B0504030103020203" pitchFamily="34" charset="0"/>
                <a:cs typeface="Haffer" panose="020B0504030103020203" pitchFamily="34" charset="0"/>
              </a:rPr>
              <a:t>from</a:t>
            </a:r>
            <a:r>
              <a:rPr lang="de-DE" sz="1000" dirty="0">
                <a:latin typeface="Haffer" panose="020B0504030103020203" pitchFamily="34" charset="0"/>
                <a:ea typeface="Haffer" panose="020B0504030103020203" pitchFamily="34" charset="0"/>
                <a:cs typeface="Haffer" panose="020B0504030103020203" pitchFamily="34" charset="0"/>
              </a:rPr>
              <a:t> Montel</a:t>
            </a:r>
          </a:p>
        </p:txBody>
      </p:sp>
      <p:sp>
        <p:nvSpPr>
          <p:cNvPr id="3" name="Textplatzhalter 2">
            <a:extLst>
              <a:ext uri="{FF2B5EF4-FFF2-40B4-BE49-F238E27FC236}">
                <a16:creationId xmlns:a16="http://schemas.microsoft.com/office/drawing/2014/main" id="{E9072FB9-7282-00C6-A40F-3C69DB2DFD40}"/>
              </a:ext>
            </a:extLst>
          </p:cNvPr>
          <p:cNvSpPr>
            <a:spLocks noGrp="1"/>
          </p:cNvSpPr>
          <p:nvPr>
            <p:ph type="body" sz="quarter" idx="11"/>
          </p:nvPr>
        </p:nvSpPr>
        <p:spPr/>
        <p:txBody>
          <a:bodyPr/>
          <a:lstStyle/>
          <a:p>
            <a:r>
              <a:rPr lang="de-DE" dirty="0" err="1"/>
              <a:t>Flexibility</a:t>
            </a:r>
            <a:endParaRPr lang="de-DE" dirty="0"/>
          </a:p>
        </p:txBody>
      </p:sp>
      <p:graphicFrame>
        <p:nvGraphicFramePr>
          <p:cNvPr id="6" name="Diagramm 5">
            <a:extLst>
              <a:ext uri="{FF2B5EF4-FFF2-40B4-BE49-F238E27FC236}">
                <a16:creationId xmlns:a16="http://schemas.microsoft.com/office/drawing/2014/main" id="{04E8410F-F306-B04A-761E-DB74BD5D434E}"/>
              </a:ext>
            </a:extLst>
          </p:cNvPr>
          <p:cNvGraphicFramePr/>
          <p:nvPr>
            <p:extLst>
              <p:ext uri="{D42A27DB-BD31-4B8C-83A1-F6EECF244321}">
                <p14:modId xmlns:p14="http://schemas.microsoft.com/office/powerpoint/2010/main" val="2726680284"/>
              </p:ext>
            </p:extLst>
          </p:nvPr>
        </p:nvGraphicFramePr>
        <p:xfrm>
          <a:off x="1271950" y="1842390"/>
          <a:ext cx="5612943" cy="41711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Diagramm 10">
            <a:extLst>
              <a:ext uri="{FF2B5EF4-FFF2-40B4-BE49-F238E27FC236}">
                <a16:creationId xmlns:a16="http://schemas.microsoft.com/office/drawing/2014/main" id="{57F61627-8EAE-98E7-5E4D-69CABE2FF564}"/>
              </a:ext>
            </a:extLst>
          </p:cNvPr>
          <p:cNvGraphicFramePr/>
          <p:nvPr>
            <p:extLst>
              <p:ext uri="{D42A27DB-BD31-4B8C-83A1-F6EECF244321}">
                <p14:modId xmlns:p14="http://schemas.microsoft.com/office/powerpoint/2010/main" val="3173230348"/>
              </p:ext>
            </p:extLst>
          </p:nvPr>
        </p:nvGraphicFramePr>
        <p:xfrm>
          <a:off x="7221284" y="1894974"/>
          <a:ext cx="3364242" cy="417113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803482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hteck 63">
            <a:extLst>
              <a:ext uri="{FF2B5EF4-FFF2-40B4-BE49-F238E27FC236}">
                <a16:creationId xmlns:a16="http://schemas.microsoft.com/office/drawing/2014/main" id="{7729A7EC-9AFF-96EB-B54E-C944117FF997}"/>
              </a:ext>
            </a:extLst>
          </p:cNvPr>
          <p:cNvSpPr/>
          <p:nvPr/>
        </p:nvSpPr>
        <p:spPr>
          <a:xfrm>
            <a:off x="1968964" y="2169841"/>
            <a:ext cx="8489903" cy="421817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endParaRPr lang="de-DE" dirty="0"/>
          </a:p>
        </p:txBody>
      </p:sp>
      <p:sp>
        <p:nvSpPr>
          <p:cNvPr id="12" name="Textplatzhalter 11">
            <a:extLst>
              <a:ext uri="{FF2B5EF4-FFF2-40B4-BE49-F238E27FC236}">
                <a16:creationId xmlns:a16="http://schemas.microsoft.com/office/drawing/2014/main" id="{643C024E-B4F0-9A8B-B12D-E1E982A26C80}"/>
              </a:ext>
            </a:extLst>
          </p:cNvPr>
          <p:cNvSpPr>
            <a:spLocks noGrp="1"/>
          </p:cNvSpPr>
          <p:nvPr>
            <p:ph type="body" sz="quarter" idx="11"/>
          </p:nvPr>
        </p:nvSpPr>
        <p:spPr/>
        <p:txBody>
          <a:bodyPr/>
          <a:lstStyle/>
          <a:p>
            <a:r>
              <a:rPr lang="de-DE" sz="3600" dirty="0">
                <a:latin typeface="+mj-lt"/>
              </a:rPr>
              <a:t>Flexibility options</a:t>
            </a:r>
          </a:p>
        </p:txBody>
      </p:sp>
      <p:sp>
        <p:nvSpPr>
          <p:cNvPr id="13" name="Textplatzhalter 12">
            <a:extLst>
              <a:ext uri="{FF2B5EF4-FFF2-40B4-BE49-F238E27FC236}">
                <a16:creationId xmlns:a16="http://schemas.microsoft.com/office/drawing/2014/main" id="{DCEB4EA6-8AB5-2519-4D4C-5BE124B5FFC4}"/>
              </a:ext>
            </a:extLst>
          </p:cNvPr>
          <p:cNvSpPr>
            <a:spLocks noGrp="1"/>
          </p:cNvSpPr>
          <p:nvPr>
            <p:ph type="body" sz="quarter" idx="12"/>
          </p:nvPr>
        </p:nvSpPr>
        <p:spPr/>
        <p:txBody>
          <a:bodyPr/>
          <a:lstStyle/>
          <a:p>
            <a:r>
              <a:rPr lang="de-DE" dirty="0" err="1"/>
              <a:t>Flexibility</a:t>
            </a:r>
            <a:endParaRPr lang="de-DE" dirty="0"/>
          </a:p>
        </p:txBody>
      </p:sp>
      <p:sp>
        <p:nvSpPr>
          <p:cNvPr id="21" name="Rechteck 20">
            <a:extLst>
              <a:ext uri="{FF2B5EF4-FFF2-40B4-BE49-F238E27FC236}">
                <a16:creationId xmlns:a16="http://schemas.microsoft.com/office/drawing/2014/main" id="{F46CF6F9-310B-3D86-1271-6D9F667B2DDC}"/>
              </a:ext>
            </a:extLst>
          </p:cNvPr>
          <p:cNvSpPr/>
          <p:nvPr/>
        </p:nvSpPr>
        <p:spPr>
          <a:xfrm>
            <a:off x="5097943" y="3817244"/>
            <a:ext cx="1499420" cy="819467"/>
          </a:xfrm>
          <a:prstGeom prst="rect">
            <a:avLst/>
          </a:pr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3023" tIns="73023" rIns="73023" bIns="73023" numCol="1" spcCol="1270" anchor="ctr" anchorCtr="0">
            <a:noAutofit/>
          </a:bodyPr>
          <a:lstStyle/>
          <a:p>
            <a:pPr marL="0" lvl="0" indent="0" algn="ctr" defTabSz="577850">
              <a:lnSpc>
                <a:spcPct val="90000"/>
              </a:lnSpc>
              <a:spcBef>
                <a:spcPct val="0"/>
              </a:spcBef>
              <a:spcAft>
                <a:spcPct val="35000"/>
              </a:spcAft>
              <a:buNone/>
            </a:pPr>
            <a:r>
              <a:rPr lang="de-DE" sz="1600" kern="1200" dirty="0"/>
              <a:t>Flexibility options</a:t>
            </a:r>
          </a:p>
        </p:txBody>
      </p:sp>
      <p:sp>
        <p:nvSpPr>
          <p:cNvPr id="22" name="Rechteck 21">
            <a:extLst>
              <a:ext uri="{FF2B5EF4-FFF2-40B4-BE49-F238E27FC236}">
                <a16:creationId xmlns:a16="http://schemas.microsoft.com/office/drawing/2014/main" id="{FC1B64F9-124D-4A68-E835-DCC1571F0434}"/>
              </a:ext>
            </a:extLst>
          </p:cNvPr>
          <p:cNvSpPr/>
          <p:nvPr/>
        </p:nvSpPr>
        <p:spPr>
          <a:xfrm>
            <a:off x="5285997" y="3046703"/>
            <a:ext cx="1123312" cy="549043"/>
          </a:xfrm>
          <a:prstGeom prst="rect">
            <a:avLst/>
          </a:prstGeom>
          <a:solidFill>
            <a:schemeClr val="accent3">
              <a:lumMod val="50000"/>
              <a:lumOff val="50000"/>
            </a:schemeClr>
          </a:solidFill>
          <a:ln>
            <a:noFill/>
          </a:ln>
        </p:spPr>
        <p:style>
          <a:lnRef idx="2">
            <a:schemeClr val="lt1">
              <a:hueOff val="0"/>
              <a:satOff val="0"/>
              <a:lumOff val="0"/>
              <a:alphaOff val="0"/>
            </a:schemeClr>
          </a:lnRef>
          <a:fillRef idx="1">
            <a:schemeClr val="accent4">
              <a:hueOff val="-70833"/>
              <a:satOff val="4369"/>
              <a:lumOff val="-4288"/>
              <a:alphaOff val="0"/>
            </a:schemeClr>
          </a:fillRef>
          <a:effectRef idx="0">
            <a:schemeClr val="accent4">
              <a:hueOff val="-70833"/>
              <a:satOff val="4369"/>
              <a:lumOff val="-4288"/>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a:t>Dispatchable generation</a:t>
            </a:r>
          </a:p>
        </p:txBody>
      </p:sp>
      <p:sp>
        <p:nvSpPr>
          <p:cNvPr id="24" name="Rechteck 23">
            <a:extLst>
              <a:ext uri="{FF2B5EF4-FFF2-40B4-BE49-F238E27FC236}">
                <a16:creationId xmlns:a16="http://schemas.microsoft.com/office/drawing/2014/main" id="{2D896D9C-B5DE-C3CE-22AB-6EAE0EAAB24E}"/>
              </a:ext>
            </a:extLst>
          </p:cNvPr>
          <p:cNvSpPr/>
          <p:nvPr/>
        </p:nvSpPr>
        <p:spPr>
          <a:xfrm>
            <a:off x="4566820" y="2256764"/>
            <a:ext cx="1123312" cy="549043"/>
          </a:xfrm>
          <a:prstGeom prst="rect">
            <a:avLst/>
          </a:prstGeom>
          <a:solidFill>
            <a:schemeClr val="accent3">
              <a:lumMod val="25000"/>
              <a:lumOff val="75000"/>
            </a:schemeClr>
          </a:solidFill>
          <a:ln>
            <a:noFill/>
          </a:ln>
        </p:spPr>
        <p:style>
          <a:lnRef idx="2">
            <a:schemeClr val="lt1">
              <a:hueOff val="0"/>
              <a:satOff val="0"/>
              <a:lumOff val="0"/>
              <a:alphaOff val="0"/>
            </a:schemeClr>
          </a:lnRef>
          <a:fillRef idx="1">
            <a:schemeClr val="accent4">
              <a:hueOff val="-141666"/>
              <a:satOff val="8738"/>
              <a:lumOff val="-8575"/>
              <a:alphaOff val="0"/>
            </a:schemeClr>
          </a:fillRef>
          <a:effectRef idx="0">
            <a:schemeClr val="accent4">
              <a:hueOff val="-141666"/>
              <a:satOff val="8738"/>
              <a:lumOff val="-8575"/>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Hydro power &amp; biogas</a:t>
            </a:r>
          </a:p>
        </p:txBody>
      </p:sp>
      <p:sp>
        <p:nvSpPr>
          <p:cNvPr id="26" name="Rechteck 25">
            <a:extLst>
              <a:ext uri="{FF2B5EF4-FFF2-40B4-BE49-F238E27FC236}">
                <a16:creationId xmlns:a16="http://schemas.microsoft.com/office/drawing/2014/main" id="{DE566894-FE32-5115-0815-CE062304FCDE}"/>
              </a:ext>
            </a:extLst>
          </p:cNvPr>
          <p:cNvSpPr/>
          <p:nvPr/>
        </p:nvSpPr>
        <p:spPr>
          <a:xfrm>
            <a:off x="5910074" y="2256604"/>
            <a:ext cx="1195110" cy="549043"/>
          </a:xfrm>
          <a:prstGeom prst="rect">
            <a:avLst/>
          </a:prstGeom>
          <a:solidFill>
            <a:schemeClr val="accent3">
              <a:lumMod val="25000"/>
              <a:lumOff val="75000"/>
            </a:schemeClr>
          </a:solidFill>
          <a:ln>
            <a:noFill/>
          </a:ln>
        </p:spPr>
        <p:style>
          <a:lnRef idx="2">
            <a:schemeClr val="lt1">
              <a:hueOff val="0"/>
              <a:satOff val="0"/>
              <a:lumOff val="0"/>
              <a:alphaOff val="0"/>
            </a:schemeClr>
          </a:lnRef>
          <a:fillRef idx="1">
            <a:schemeClr val="accent4">
              <a:hueOff val="-212499"/>
              <a:satOff val="13107"/>
              <a:lumOff val="-12863"/>
              <a:alphaOff val="0"/>
            </a:schemeClr>
          </a:fillRef>
          <a:effectRef idx="0">
            <a:schemeClr val="accent4">
              <a:hueOff val="-212499"/>
              <a:satOff val="13107"/>
              <a:lumOff val="-12863"/>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Hydrogen/gas turbines</a:t>
            </a:r>
          </a:p>
        </p:txBody>
      </p:sp>
      <p:sp>
        <p:nvSpPr>
          <p:cNvPr id="27" name="Rechteck 26">
            <a:extLst>
              <a:ext uri="{FF2B5EF4-FFF2-40B4-BE49-F238E27FC236}">
                <a16:creationId xmlns:a16="http://schemas.microsoft.com/office/drawing/2014/main" id="{844B157F-5A30-D227-CBCA-B230818504E9}"/>
              </a:ext>
            </a:extLst>
          </p:cNvPr>
          <p:cNvSpPr/>
          <p:nvPr/>
        </p:nvSpPr>
        <p:spPr>
          <a:xfrm>
            <a:off x="7171520" y="3952456"/>
            <a:ext cx="1004612" cy="549043"/>
          </a:xfrm>
          <a:prstGeom prst="rect">
            <a:avLst/>
          </a:prstGeom>
          <a:ln>
            <a:noFill/>
          </a:ln>
        </p:spPr>
        <p:style>
          <a:lnRef idx="2">
            <a:schemeClr val="lt1">
              <a:hueOff val="0"/>
              <a:satOff val="0"/>
              <a:lumOff val="0"/>
              <a:alphaOff val="0"/>
            </a:schemeClr>
          </a:lnRef>
          <a:fillRef idx="1">
            <a:schemeClr val="accent4">
              <a:hueOff val="-283332"/>
              <a:satOff val="17476"/>
              <a:lumOff val="-17151"/>
              <a:alphaOff val="0"/>
            </a:schemeClr>
          </a:fillRef>
          <a:effectRef idx="0">
            <a:schemeClr val="accent4">
              <a:hueOff val="-283332"/>
              <a:satOff val="17476"/>
              <a:lumOff val="-17151"/>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a:t>Grids</a:t>
            </a:r>
          </a:p>
        </p:txBody>
      </p:sp>
      <p:sp>
        <p:nvSpPr>
          <p:cNvPr id="29" name="Rechteck 28">
            <a:extLst>
              <a:ext uri="{FF2B5EF4-FFF2-40B4-BE49-F238E27FC236}">
                <a16:creationId xmlns:a16="http://schemas.microsoft.com/office/drawing/2014/main" id="{06119599-C4DE-3E2A-F9A5-8946E4FD5397}"/>
              </a:ext>
            </a:extLst>
          </p:cNvPr>
          <p:cNvSpPr/>
          <p:nvPr/>
        </p:nvSpPr>
        <p:spPr>
          <a:xfrm>
            <a:off x="8542234" y="3549486"/>
            <a:ext cx="1287533" cy="613915"/>
          </a:xfrm>
          <a:prstGeom prst="rect">
            <a:avLst/>
          </a:prstGeom>
          <a:ln>
            <a:noFill/>
          </a:ln>
        </p:spPr>
        <p:style>
          <a:lnRef idx="2">
            <a:schemeClr val="lt1">
              <a:hueOff val="0"/>
              <a:satOff val="0"/>
              <a:lumOff val="0"/>
              <a:alphaOff val="0"/>
            </a:schemeClr>
          </a:lnRef>
          <a:fillRef idx="1">
            <a:schemeClr val="accent4">
              <a:hueOff val="-354164"/>
              <a:satOff val="21845"/>
              <a:lumOff val="-21438"/>
              <a:alphaOff val="0"/>
            </a:schemeClr>
          </a:fillRef>
          <a:effectRef idx="0">
            <a:schemeClr val="accent4">
              <a:hueOff val="-354164"/>
              <a:satOff val="21845"/>
              <a:lumOff val="-21438"/>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Transmission grids &amp; interconnectors</a:t>
            </a:r>
          </a:p>
        </p:txBody>
      </p:sp>
      <p:sp>
        <p:nvSpPr>
          <p:cNvPr id="31" name="Rechteck 30">
            <a:extLst>
              <a:ext uri="{FF2B5EF4-FFF2-40B4-BE49-F238E27FC236}">
                <a16:creationId xmlns:a16="http://schemas.microsoft.com/office/drawing/2014/main" id="{BFE52CC1-EFE4-D633-052E-638223028860}"/>
              </a:ext>
            </a:extLst>
          </p:cNvPr>
          <p:cNvSpPr/>
          <p:nvPr/>
        </p:nvSpPr>
        <p:spPr>
          <a:xfrm>
            <a:off x="8542233" y="4266815"/>
            <a:ext cx="1287533" cy="549043"/>
          </a:xfrm>
          <a:prstGeom prst="rect">
            <a:avLst/>
          </a:prstGeom>
          <a:ln>
            <a:noFill/>
          </a:ln>
        </p:spPr>
        <p:style>
          <a:lnRef idx="2">
            <a:schemeClr val="lt1">
              <a:hueOff val="0"/>
              <a:satOff val="0"/>
              <a:lumOff val="0"/>
              <a:alphaOff val="0"/>
            </a:schemeClr>
          </a:lnRef>
          <a:fillRef idx="1">
            <a:schemeClr val="accent4">
              <a:hueOff val="-424997"/>
              <a:satOff val="26214"/>
              <a:lumOff val="-25726"/>
              <a:alphaOff val="0"/>
            </a:schemeClr>
          </a:fillRef>
          <a:effectRef idx="0">
            <a:schemeClr val="accent4">
              <a:hueOff val="-424997"/>
              <a:satOff val="26214"/>
              <a:lumOff val="-25726"/>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Distribution grids</a:t>
            </a:r>
          </a:p>
        </p:txBody>
      </p:sp>
      <p:sp>
        <p:nvSpPr>
          <p:cNvPr id="32" name="Rechteck 31">
            <a:extLst>
              <a:ext uri="{FF2B5EF4-FFF2-40B4-BE49-F238E27FC236}">
                <a16:creationId xmlns:a16="http://schemas.microsoft.com/office/drawing/2014/main" id="{65127507-7E3E-523A-CFCF-EDFEA02519C3}"/>
              </a:ext>
            </a:extLst>
          </p:cNvPr>
          <p:cNvSpPr/>
          <p:nvPr/>
        </p:nvSpPr>
        <p:spPr>
          <a:xfrm>
            <a:off x="5345347" y="4924043"/>
            <a:ext cx="1004612" cy="549043"/>
          </a:xfrm>
          <a:prstGeom prst="rect">
            <a:avLst/>
          </a:prstGeom>
          <a:ln>
            <a:noFill/>
          </a:ln>
        </p:spPr>
        <p:style>
          <a:lnRef idx="2">
            <a:schemeClr val="lt1">
              <a:hueOff val="0"/>
              <a:satOff val="0"/>
              <a:lumOff val="0"/>
              <a:alphaOff val="0"/>
            </a:schemeClr>
          </a:lnRef>
          <a:fillRef idx="1">
            <a:schemeClr val="accent4">
              <a:hueOff val="-495830"/>
              <a:satOff val="30583"/>
              <a:lumOff val="-30014"/>
              <a:alphaOff val="0"/>
            </a:schemeClr>
          </a:fillRef>
          <a:effectRef idx="0">
            <a:schemeClr val="accent4">
              <a:hueOff val="-495830"/>
              <a:satOff val="30583"/>
              <a:lumOff val="-30014"/>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a:t>Storage systems</a:t>
            </a:r>
          </a:p>
        </p:txBody>
      </p:sp>
      <p:sp>
        <p:nvSpPr>
          <p:cNvPr id="34" name="Rechteck 33">
            <a:extLst>
              <a:ext uri="{FF2B5EF4-FFF2-40B4-BE49-F238E27FC236}">
                <a16:creationId xmlns:a16="http://schemas.microsoft.com/office/drawing/2014/main" id="{8832436A-E9A6-5F27-B865-9323240A33CD}"/>
              </a:ext>
            </a:extLst>
          </p:cNvPr>
          <p:cNvSpPr/>
          <p:nvPr/>
        </p:nvSpPr>
        <p:spPr>
          <a:xfrm>
            <a:off x="6525566" y="5733816"/>
            <a:ext cx="1004612" cy="549043"/>
          </a:xfrm>
          <a:prstGeom prst="rect">
            <a:avLst/>
          </a:prstGeom>
          <a:ln>
            <a:noFill/>
          </a:ln>
        </p:spPr>
        <p:style>
          <a:lnRef idx="2">
            <a:schemeClr val="lt1">
              <a:hueOff val="0"/>
              <a:satOff val="0"/>
              <a:lumOff val="0"/>
              <a:alphaOff val="0"/>
            </a:schemeClr>
          </a:lnRef>
          <a:fillRef idx="1">
            <a:schemeClr val="accent4">
              <a:hueOff val="-566663"/>
              <a:satOff val="34953"/>
              <a:lumOff val="-34301"/>
              <a:alphaOff val="0"/>
            </a:schemeClr>
          </a:fillRef>
          <a:effectRef idx="0">
            <a:schemeClr val="accent4">
              <a:hueOff val="-566663"/>
              <a:satOff val="34953"/>
              <a:lumOff val="-34301"/>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Large-</a:t>
            </a:r>
            <a:r>
              <a:rPr lang="de-DE" sz="1400" kern="1200" dirty="0" err="1"/>
              <a:t>scale</a:t>
            </a:r>
            <a:r>
              <a:rPr lang="de-DE" sz="1400" kern="1200" dirty="0"/>
              <a:t> BESS</a:t>
            </a:r>
          </a:p>
        </p:txBody>
      </p:sp>
      <p:sp>
        <p:nvSpPr>
          <p:cNvPr id="36" name="Rechteck 35">
            <a:extLst>
              <a:ext uri="{FF2B5EF4-FFF2-40B4-BE49-F238E27FC236}">
                <a16:creationId xmlns:a16="http://schemas.microsoft.com/office/drawing/2014/main" id="{50997312-6554-59B2-063B-202F8F899278}"/>
              </a:ext>
            </a:extLst>
          </p:cNvPr>
          <p:cNvSpPr/>
          <p:nvPr/>
        </p:nvSpPr>
        <p:spPr>
          <a:xfrm>
            <a:off x="5345347" y="5726085"/>
            <a:ext cx="1004612" cy="549043"/>
          </a:xfrm>
          <a:prstGeom prst="rect">
            <a:avLst/>
          </a:prstGeom>
          <a:ln>
            <a:noFill/>
          </a:ln>
        </p:spPr>
        <p:style>
          <a:lnRef idx="2">
            <a:schemeClr val="lt1">
              <a:hueOff val="0"/>
              <a:satOff val="0"/>
              <a:lumOff val="0"/>
              <a:alphaOff val="0"/>
            </a:schemeClr>
          </a:lnRef>
          <a:fillRef idx="1">
            <a:schemeClr val="accent4">
              <a:hueOff val="-637496"/>
              <a:satOff val="39322"/>
              <a:lumOff val="-38589"/>
              <a:alphaOff val="0"/>
            </a:schemeClr>
          </a:fillRef>
          <a:effectRef idx="0">
            <a:schemeClr val="accent4">
              <a:hueOff val="-637496"/>
              <a:satOff val="39322"/>
              <a:lumOff val="-38589"/>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Home BESS</a:t>
            </a:r>
          </a:p>
        </p:txBody>
      </p:sp>
      <p:sp>
        <p:nvSpPr>
          <p:cNvPr id="38" name="Rechteck 37">
            <a:extLst>
              <a:ext uri="{FF2B5EF4-FFF2-40B4-BE49-F238E27FC236}">
                <a16:creationId xmlns:a16="http://schemas.microsoft.com/office/drawing/2014/main" id="{619A2268-6938-DD4E-AAA6-BB2D98121155}"/>
              </a:ext>
            </a:extLst>
          </p:cNvPr>
          <p:cNvSpPr/>
          <p:nvPr/>
        </p:nvSpPr>
        <p:spPr>
          <a:xfrm>
            <a:off x="4061317" y="5725731"/>
            <a:ext cx="1108423" cy="549043"/>
          </a:xfrm>
          <a:prstGeom prst="rect">
            <a:avLst/>
          </a:prstGeom>
          <a:ln>
            <a:noFill/>
          </a:ln>
        </p:spPr>
        <p:style>
          <a:lnRef idx="2">
            <a:schemeClr val="lt1">
              <a:hueOff val="0"/>
              <a:satOff val="0"/>
              <a:lumOff val="0"/>
              <a:alphaOff val="0"/>
            </a:schemeClr>
          </a:lnRef>
          <a:fillRef idx="1">
            <a:schemeClr val="accent4">
              <a:hueOff val="-708329"/>
              <a:satOff val="43691"/>
              <a:lumOff val="-42877"/>
              <a:alphaOff val="0"/>
            </a:schemeClr>
          </a:fillRef>
          <a:effectRef idx="0">
            <a:schemeClr val="accent4">
              <a:hueOff val="-708329"/>
              <a:satOff val="43691"/>
              <a:lumOff val="-42877"/>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E-</a:t>
            </a:r>
            <a:r>
              <a:rPr lang="de-DE" sz="1400" kern="1200" dirty="0" err="1"/>
              <a:t>mobility</a:t>
            </a:r>
            <a:r>
              <a:rPr lang="de-DE" sz="1400" kern="1200" dirty="0"/>
              <a:t> (vehicle2grid)</a:t>
            </a:r>
          </a:p>
        </p:txBody>
      </p:sp>
      <p:sp>
        <p:nvSpPr>
          <p:cNvPr id="39" name="Rechteck 38">
            <a:extLst>
              <a:ext uri="{FF2B5EF4-FFF2-40B4-BE49-F238E27FC236}">
                <a16:creationId xmlns:a16="http://schemas.microsoft.com/office/drawing/2014/main" id="{42FDD9A9-AD55-EF29-77FF-ADB7A2997D59}"/>
              </a:ext>
            </a:extLst>
          </p:cNvPr>
          <p:cNvSpPr/>
          <p:nvPr/>
        </p:nvSpPr>
        <p:spPr>
          <a:xfrm>
            <a:off x="3943239" y="3952455"/>
            <a:ext cx="747572" cy="549044"/>
          </a:xfrm>
          <a:prstGeom prst="rect">
            <a:avLst/>
          </a:prstGeom>
          <a:ln>
            <a:noFill/>
          </a:ln>
        </p:spPr>
        <p:style>
          <a:lnRef idx="2">
            <a:schemeClr val="lt1">
              <a:hueOff val="0"/>
              <a:satOff val="0"/>
              <a:lumOff val="0"/>
              <a:alphaOff val="0"/>
            </a:schemeClr>
          </a:lnRef>
          <a:fillRef idx="1">
            <a:schemeClr val="accent4">
              <a:hueOff val="-779162"/>
              <a:satOff val="48060"/>
              <a:lumOff val="-47164"/>
              <a:alphaOff val="0"/>
            </a:schemeClr>
          </a:fillRef>
          <a:effectRef idx="0">
            <a:schemeClr val="accent4">
              <a:hueOff val="-779162"/>
              <a:satOff val="48060"/>
              <a:lumOff val="-47164"/>
              <a:alphaOff val="0"/>
            </a:schemeClr>
          </a:effectRef>
          <a:fontRef idx="minor">
            <a:schemeClr val="lt1"/>
          </a:fontRef>
        </p:style>
        <p:txBody>
          <a:bodyPr spcFirstLastPara="0" vert="horz" wrap="square" lIns="35184" tIns="35184" rIns="35184" bIns="35184" numCol="1" spcCol="1270" anchor="ctr" anchorCtr="0">
            <a:noAutofit/>
          </a:bodyPr>
          <a:lstStyle/>
          <a:p>
            <a:pPr marL="0" lvl="0" indent="0" algn="ctr" defTabSz="266700">
              <a:lnSpc>
                <a:spcPct val="90000"/>
              </a:lnSpc>
              <a:spcBef>
                <a:spcPct val="0"/>
              </a:spcBef>
              <a:spcAft>
                <a:spcPct val="35000"/>
              </a:spcAft>
              <a:buNone/>
            </a:pPr>
            <a:r>
              <a:rPr lang="de-DE" sz="1400" kern="1200" dirty="0"/>
              <a:t>Flexible demand</a:t>
            </a:r>
          </a:p>
        </p:txBody>
      </p:sp>
      <p:sp>
        <p:nvSpPr>
          <p:cNvPr id="41" name="Rechteck 40">
            <a:extLst>
              <a:ext uri="{FF2B5EF4-FFF2-40B4-BE49-F238E27FC236}">
                <a16:creationId xmlns:a16="http://schemas.microsoft.com/office/drawing/2014/main" id="{FAD8218C-62AA-E985-F141-62D4BCF46D69}"/>
              </a:ext>
            </a:extLst>
          </p:cNvPr>
          <p:cNvSpPr/>
          <p:nvPr/>
        </p:nvSpPr>
        <p:spPr>
          <a:xfrm>
            <a:off x="2589985" y="3261103"/>
            <a:ext cx="986906" cy="408565"/>
          </a:xfrm>
          <a:prstGeom prst="rect">
            <a:avLst/>
          </a:prstGeom>
          <a:ln>
            <a:noFill/>
          </a:ln>
        </p:spPr>
        <p:style>
          <a:lnRef idx="2">
            <a:schemeClr val="lt1">
              <a:hueOff val="0"/>
              <a:satOff val="0"/>
              <a:lumOff val="0"/>
              <a:alphaOff val="0"/>
            </a:schemeClr>
          </a:lnRef>
          <a:fillRef idx="1">
            <a:schemeClr val="accent4">
              <a:hueOff val="-849995"/>
              <a:satOff val="52429"/>
              <a:lumOff val="-51452"/>
              <a:alphaOff val="0"/>
            </a:schemeClr>
          </a:fillRef>
          <a:effectRef idx="0">
            <a:schemeClr val="accent4">
              <a:hueOff val="-849995"/>
              <a:satOff val="52429"/>
              <a:lumOff val="-51452"/>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Electrolyzer</a:t>
            </a:r>
          </a:p>
        </p:txBody>
      </p:sp>
      <p:sp>
        <p:nvSpPr>
          <p:cNvPr id="43" name="Rechteck 42">
            <a:extLst>
              <a:ext uri="{FF2B5EF4-FFF2-40B4-BE49-F238E27FC236}">
                <a16:creationId xmlns:a16="http://schemas.microsoft.com/office/drawing/2014/main" id="{3C8D0D9C-CF64-529E-711B-4E03C23A9CB6}"/>
              </a:ext>
            </a:extLst>
          </p:cNvPr>
          <p:cNvSpPr/>
          <p:nvPr/>
        </p:nvSpPr>
        <p:spPr>
          <a:xfrm>
            <a:off x="2589985" y="4248946"/>
            <a:ext cx="986906" cy="408565"/>
          </a:xfrm>
          <a:prstGeom prst="rect">
            <a:avLst/>
          </a:prstGeom>
          <a:ln>
            <a:noFill/>
          </a:ln>
        </p:spPr>
        <p:style>
          <a:lnRef idx="2">
            <a:schemeClr val="lt1">
              <a:hueOff val="0"/>
              <a:satOff val="0"/>
              <a:lumOff val="0"/>
              <a:alphaOff val="0"/>
            </a:schemeClr>
          </a:lnRef>
          <a:fillRef idx="1">
            <a:schemeClr val="accent4">
              <a:hueOff val="-920828"/>
              <a:satOff val="56798"/>
              <a:lumOff val="-55740"/>
              <a:alphaOff val="0"/>
            </a:schemeClr>
          </a:fillRef>
          <a:effectRef idx="0">
            <a:schemeClr val="accent4">
              <a:hueOff val="-920828"/>
              <a:satOff val="56798"/>
              <a:lumOff val="-55740"/>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Heat pumps</a:t>
            </a:r>
          </a:p>
        </p:txBody>
      </p:sp>
      <p:sp>
        <p:nvSpPr>
          <p:cNvPr id="45" name="Rechteck 44">
            <a:extLst>
              <a:ext uri="{FF2B5EF4-FFF2-40B4-BE49-F238E27FC236}">
                <a16:creationId xmlns:a16="http://schemas.microsoft.com/office/drawing/2014/main" id="{652CE657-4652-3D87-A40D-79F248D0F65F}"/>
              </a:ext>
            </a:extLst>
          </p:cNvPr>
          <p:cNvSpPr/>
          <p:nvPr/>
        </p:nvSpPr>
        <p:spPr>
          <a:xfrm>
            <a:off x="2588649" y="3754836"/>
            <a:ext cx="986906" cy="408565"/>
          </a:xfrm>
          <a:prstGeom prst="rect">
            <a:avLst/>
          </a:prstGeom>
          <a:ln>
            <a:noFill/>
          </a:ln>
        </p:spPr>
        <p:style>
          <a:lnRef idx="2">
            <a:schemeClr val="lt1">
              <a:hueOff val="0"/>
              <a:satOff val="0"/>
              <a:lumOff val="0"/>
              <a:alphaOff val="0"/>
            </a:schemeClr>
          </a:lnRef>
          <a:fillRef idx="1">
            <a:schemeClr val="accent4">
              <a:hueOff val="-991660"/>
              <a:satOff val="61167"/>
              <a:lumOff val="-60027"/>
              <a:alphaOff val="0"/>
            </a:schemeClr>
          </a:fillRef>
          <a:effectRef idx="0">
            <a:schemeClr val="accent4">
              <a:hueOff val="-991660"/>
              <a:satOff val="61167"/>
              <a:lumOff val="-60027"/>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E-</a:t>
            </a:r>
            <a:r>
              <a:rPr lang="de-DE" sz="1400" kern="1200" dirty="0" err="1"/>
              <a:t>mobility</a:t>
            </a:r>
            <a:endParaRPr lang="de-DE" sz="1400" kern="1200" dirty="0"/>
          </a:p>
        </p:txBody>
      </p:sp>
      <p:sp>
        <p:nvSpPr>
          <p:cNvPr id="47" name="Rechteck 46">
            <a:extLst>
              <a:ext uri="{FF2B5EF4-FFF2-40B4-BE49-F238E27FC236}">
                <a16:creationId xmlns:a16="http://schemas.microsoft.com/office/drawing/2014/main" id="{DDE0BAC3-4147-26AA-7ABC-1C30D7346EE2}"/>
              </a:ext>
            </a:extLst>
          </p:cNvPr>
          <p:cNvSpPr/>
          <p:nvPr/>
        </p:nvSpPr>
        <p:spPr>
          <a:xfrm>
            <a:off x="2588649" y="4743056"/>
            <a:ext cx="986906" cy="408565"/>
          </a:xfrm>
          <a:prstGeom prst="rect">
            <a:avLst/>
          </a:prstGeom>
          <a:ln>
            <a:noFill/>
          </a:ln>
        </p:spPr>
        <p:style>
          <a:lnRef idx="2">
            <a:schemeClr val="lt1">
              <a:hueOff val="0"/>
              <a:satOff val="0"/>
              <a:lumOff val="0"/>
              <a:alphaOff val="0"/>
            </a:schemeClr>
          </a:lnRef>
          <a:fillRef idx="1">
            <a:schemeClr val="accent4">
              <a:hueOff val="-1062493"/>
              <a:satOff val="65536"/>
              <a:lumOff val="-64315"/>
              <a:alphaOff val="0"/>
            </a:schemeClr>
          </a:fillRef>
          <a:effectRef idx="0">
            <a:schemeClr val="accent4">
              <a:hueOff val="-1062493"/>
              <a:satOff val="65536"/>
              <a:lumOff val="-64315"/>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other</a:t>
            </a:r>
          </a:p>
        </p:txBody>
      </p:sp>
      <p:cxnSp>
        <p:nvCxnSpPr>
          <p:cNvPr id="49" name="Gerader Verbinder 48">
            <a:extLst>
              <a:ext uri="{FF2B5EF4-FFF2-40B4-BE49-F238E27FC236}">
                <a16:creationId xmlns:a16="http://schemas.microsoft.com/office/drawing/2014/main" id="{96AF8E8B-B8C0-4053-F555-C7A171E7142B}"/>
              </a:ext>
            </a:extLst>
          </p:cNvPr>
          <p:cNvCxnSpPr>
            <a:cxnSpLocks/>
            <a:stCxn id="21" idx="1"/>
            <a:endCxn id="39" idx="3"/>
          </p:cNvCxnSpPr>
          <p:nvPr/>
        </p:nvCxnSpPr>
        <p:spPr>
          <a:xfrm flipH="1" flipV="1">
            <a:off x="4690811" y="4226977"/>
            <a:ext cx="407132" cy="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5034C63-2D29-70E1-C348-C130F6493FE0}"/>
              </a:ext>
            </a:extLst>
          </p:cNvPr>
          <p:cNvCxnSpPr>
            <a:cxnSpLocks/>
            <a:stCxn id="21" idx="2"/>
            <a:endCxn id="32" idx="0"/>
          </p:cNvCxnSpPr>
          <p:nvPr/>
        </p:nvCxnSpPr>
        <p:spPr>
          <a:xfrm>
            <a:off x="5847653" y="4636711"/>
            <a:ext cx="0" cy="28733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C3B39DBB-8AFA-08B8-A633-43EDE56405F4}"/>
              </a:ext>
            </a:extLst>
          </p:cNvPr>
          <p:cNvCxnSpPr>
            <a:cxnSpLocks/>
            <a:stCxn id="21" idx="0"/>
            <a:endCxn id="22" idx="2"/>
          </p:cNvCxnSpPr>
          <p:nvPr/>
        </p:nvCxnSpPr>
        <p:spPr>
          <a:xfrm flipV="1">
            <a:off x="5847653" y="3595746"/>
            <a:ext cx="0" cy="22149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8233C7B4-E2F4-2DAC-53ED-504405B4D346}"/>
              </a:ext>
            </a:extLst>
          </p:cNvPr>
          <p:cNvCxnSpPr>
            <a:cxnSpLocks/>
            <a:stCxn id="21" idx="3"/>
            <a:endCxn id="27" idx="1"/>
          </p:cNvCxnSpPr>
          <p:nvPr/>
        </p:nvCxnSpPr>
        <p:spPr>
          <a:xfrm>
            <a:off x="6597363" y="4226978"/>
            <a:ext cx="57415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96EE0CD9-3D0F-DB84-A0DD-10C543C492B2}"/>
              </a:ext>
            </a:extLst>
          </p:cNvPr>
          <p:cNvSpPr/>
          <p:nvPr/>
        </p:nvSpPr>
        <p:spPr>
          <a:xfrm>
            <a:off x="10772566" y="2169841"/>
            <a:ext cx="707303" cy="421817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de-DE" dirty="0"/>
              <a:t>Inflexible demand</a:t>
            </a:r>
          </a:p>
        </p:txBody>
      </p:sp>
      <p:sp>
        <p:nvSpPr>
          <p:cNvPr id="63" name="Rechteck 62">
            <a:extLst>
              <a:ext uri="{FF2B5EF4-FFF2-40B4-BE49-F238E27FC236}">
                <a16:creationId xmlns:a16="http://schemas.microsoft.com/office/drawing/2014/main" id="{18D747DB-6832-CAFD-E60A-FF20E7EAEE70}"/>
              </a:ext>
            </a:extLst>
          </p:cNvPr>
          <p:cNvSpPr/>
          <p:nvPr/>
        </p:nvSpPr>
        <p:spPr>
          <a:xfrm>
            <a:off x="1003726" y="2169841"/>
            <a:ext cx="707303" cy="421817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de-DE" dirty="0"/>
              <a:t>Fluctuating renewable generation</a:t>
            </a:r>
          </a:p>
        </p:txBody>
      </p:sp>
      <p:cxnSp>
        <p:nvCxnSpPr>
          <p:cNvPr id="66" name="Verbinder: gewinkelt 65">
            <a:extLst>
              <a:ext uri="{FF2B5EF4-FFF2-40B4-BE49-F238E27FC236}">
                <a16:creationId xmlns:a16="http://schemas.microsoft.com/office/drawing/2014/main" id="{2B24B569-5E5E-CC33-960A-C5BD8DC3E0DB}"/>
              </a:ext>
            </a:extLst>
          </p:cNvPr>
          <p:cNvCxnSpPr>
            <a:stCxn id="22" idx="0"/>
            <a:endCxn id="26" idx="2"/>
          </p:cNvCxnSpPr>
          <p:nvPr/>
        </p:nvCxnSpPr>
        <p:spPr>
          <a:xfrm rot="5400000" flipH="1" flipV="1">
            <a:off x="6057113" y="2596187"/>
            <a:ext cx="241056" cy="659976"/>
          </a:xfrm>
          <a:prstGeom prst="bentConnector3">
            <a:avLst/>
          </a:prstGeom>
          <a:ln w="12700"/>
        </p:spPr>
        <p:style>
          <a:lnRef idx="1">
            <a:schemeClr val="accent1"/>
          </a:lnRef>
          <a:fillRef idx="0">
            <a:schemeClr val="accent1"/>
          </a:fillRef>
          <a:effectRef idx="0">
            <a:schemeClr val="accent1"/>
          </a:effectRef>
          <a:fontRef idx="minor">
            <a:schemeClr val="tx1"/>
          </a:fontRef>
        </p:style>
      </p:cxnSp>
      <p:cxnSp>
        <p:nvCxnSpPr>
          <p:cNvPr id="69" name="Verbinder: gewinkelt 68">
            <a:extLst>
              <a:ext uri="{FF2B5EF4-FFF2-40B4-BE49-F238E27FC236}">
                <a16:creationId xmlns:a16="http://schemas.microsoft.com/office/drawing/2014/main" id="{87B97609-D0DA-C51F-33A4-583125C121BA}"/>
              </a:ext>
            </a:extLst>
          </p:cNvPr>
          <p:cNvCxnSpPr>
            <a:cxnSpLocks/>
            <a:stCxn id="22" idx="0"/>
            <a:endCxn id="24" idx="2"/>
          </p:cNvCxnSpPr>
          <p:nvPr/>
        </p:nvCxnSpPr>
        <p:spPr>
          <a:xfrm rot="16200000" flipV="1">
            <a:off x="5367617" y="2566666"/>
            <a:ext cx="240896" cy="719177"/>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2" name="Verbinder: gewinkelt 71">
            <a:extLst>
              <a:ext uri="{FF2B5EF4-FFF2-40B4-BE49-F238E27FC236}">
                <a16:creationId xmlns:a16="http://schemas.microsoft.com/office/drawing/2014/main" id="{2E24ADF6-75C9-50A1-84BC-70AAC9D0E14D}"/>
              </a:ext>
            </a:extLst>
          </p:cNvPr>
          <p:cNvCxnSpPr>
            <a:cxnSpLocks/>
            <a:stCxn id="39" idx="1"/>
            <a:endCxn id="41" idx="3"/>
          </p:cNvCxnSpPr>
          <p:nvPr/>
        </p:nvCxnSpPr>
        <p:spPr>
          <a:xfrm rot="10800000">
            <a:off x="3576891" y="3465387"/>
            <a:ext cx="366348" cy="761591"/>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5" name="Verbinder: gewinkelt 74">
            <a:extLst>
              <a:ext uri="{FF2B5EF4-FFF2-40B4-BE49-F238E27FC236}">
                <a16:creationId xmlns:a16="http://schemas.microsoft.com/office/drawing/2014/main" id="{5938DC89-3E27-91DE-6854-94B7C4F9FA9B}"/>
              </a:ext>
            </a:extLst>
          </p:cNvPr>
          <p:cNvCxnSpPr>
            <a:cxnSpLocks/>
            <a:stCxn id="39" idx="1"/>
            <a:endCxn id="45" idx="3"/>
          </p:cNvCxnSpPr>
          <p:nvPr/>
        </p:nvCxnSpPr>
        <p:spPr>
          <a:xfrm rot="10800000">
            <a:off x="3575555" y="3959119"/>
            <a:ext cx="367684" cy="267858"/>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8" name="Verbinder: gewinkelt 77">
            <a:extLst>
              <a:ext uri="{FF2B5EF4-FFF2-40B4-BE49-F238E27FC236}">
                <a16:creationId xmlns:a16="http://schemas.microsoft.com/office/drawing/2014/main" id="{075FCF03-33FD-7D8D-5883-21C36B487921}"/>
              </a:ext>
            </a:extLst>
          </p:cNvPr>
          <p:cNvCxnSpPr>
            <a:cxnSpLocks/>
            <a:stCxn id="39" idx="1"/>
            <a:endCxn id="43" idx="3"/>
          </p:cNvCxnSpPr>
          <p:nvPr/>
        </p:nvCxnSpPr>
        <p:spPr>
          <a:xfrm rot="10800000" flipV="1">
            <a:off x="3576891" y="4226977"/>
            <a:ext cx="366348" cy="226252"/>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1" name="Verbinder: gewinkelt 80">
            <a:extLst>
              <a:ext uri="{FF2B5EF4-FFF2-40B4-BE49-F238E27FC236}">
                <a16:creationId xmlns:a16="http://schemas.microsoft.com/office/drawing/2014/main" id="{7D747D4F-9C88-EDF2-4852-434AB11314EE}"/>
              </a:ext>
            </a:extLst>
          </p:cNvPr>
          <p:cNvCxnSpPr>
            <a:cxnSpLocks/>
            <a:stCxn id="39" idx="1"/>
            <a:endCxn id="47" idx="3"/>
          </p:cNvCxnSpPr>
          <p:nvPr/>
        </p:nvCxnSpPr>
        <p:spPr>
          <a:xfrm rot="10800000" flipV="1">
            <a:off x="3575555" y="4226977"/>
            <a:ext cx="367684" cy="720362"/>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4" name="Verbinder: gewinkelt 83">
            <a:extLst>
              <a:ext uri="{FF2B5EF4-FFF2-40B4-BE49-F238E27FC236}">
                <a16:creationId xmlns:a16="http://schemas.microsoft.com/office/drawing/2014/main" id="{6726A69E-8928-749A-866C-C899774B68AE}"/>
              </a:ext>
            </a:extLst>
          </p:cNvPr>
          <p:cNvCxnSpPr>
            <a:cxnSpLocks/>
            <a:stCxn id="32" idx="2"/>
            <a:endCxn id="38" idx="0"/>
          </p:cNvCxnSpPr>
          <p:nvPr/>
        </p:nvCxnSpPr>
        <p:spPr>
          <a:xfrm rot="5400000">
            <a:off x="5105269" y="4983346"/>
            <a:ext cx="252645" cy="1232124"/>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7" name="Verbinder: gewinkelt 86">
            <a:extLst>
              <a:ext uri="{FF2B5EF4-FFF2-40B4-BE49-F238E27FC236}">
                <a16:creationId xmlns:a16="http://schemas.microsoft.com/office/drawing/2014/main" id="{2D531108-9296-02DE-E52E-A120903516B9}"/>
              </a:ext>
            </a:extLst>
          </p:cNvPr>
          <p:cNvCxnSpPr>
            <a:cxnSpLocks/>
            <a:stCxn id="32" idx="2"/>
            <a:endCxn id="34" idx="0"/>
          </p:cNvCxnSpPr>
          <p:nvPr/>
        </p:nvCxnSpPr>
        <p:spPr>
          <a:xfrm rot="16200000" flipH="1">
            <a:off x="6307397" y="5013341"/>
            <a:ext cx="260730" cy="1180219"/>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0" name="Verbinder: gewinkelt 89">
            <a:extLst>
              <a:ext uri="{FF2B5EF4-FFF2-40B4-BE49-F238E27FC236}">
                <a16:creationId xmlns:a16="http://schemas.microsoft.com/office/drawing/2014/main" id="{A96A45C9-7F7D-D342-BC57-08EC4A099027}"/>
              </a:ext>
            </a:extLst>
          </p:cNvPr>
          <p:cNvCxnSpPr>
            <a:cxnSpLocks/>
            <a:stCxn id="32" idx="2"/>
            <a:endCxn id="36" idx="0"/>
          </p:cNvCxnSpPr>
          <p:nvPr/>
        </p:nvCxnSpPr>
        <p:spPr>
          <a:xfrm rot="5400000">
            <a:off x="5721154" y="5599585"/>
            <a:ext cx="252999" cy="12700"/>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3" name="Verbinder: gewinkelt 92">
            <a:extLst>
              <a:ext uri="{FF2B5EF4-FFF2-40B4-BE49-F238E27FC236}">
                <a16:creationId xmlns:a16="http://schemas.microsoft.com/office/drawing/2014/main" id="{CFEB79AB-06A9-9587-C888-6791FC23225A}"/>
              </a:ext>
            </a:extLst>
          </p:cNvPr>
          <p:cNvCxnSpPr>
            <a:cxnSpLocks/>
            <a:stCxn id="31" idx="1"/>
            <a:endCxn id="27" idx="3"/>
          </p:cNvCxnSpPr>
          <p:nvPr/>
        </p:nvCxnSpPr>
        <p:spPr>
          <a:xfrm rot="10800000">
            <a:off x="8176133" y="4226979"/>
            <a:ext cx="366101" cy="314359"/>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6" name="Verbinder: gewinkelt 95">
            <a:extLst>
              <a:ext uri="{FF2B5EF4-FFF2-40B4-BE49-F238E27FC236}">
                <a16:creationId xmlns:a16="http://schemas.microsoft.com/office/drawing/2014/main" id="{D124FA42-2A05-E7DF-6457-EAC49AB38075}"/>
              </a:ext>
            </a:extLst>
          </p:cNvPr>
          <p:cNvCxnSpPr>
            <a:cxnSpLocks/>
            <a:stCxn id="29" idx="1"/>
            <a:endCxn id="27" idx="3"/>
          </p:cNvCxnSpPr>
          <p:nvPr/>
        </p:nvCxnSpPr>
        <p:spPr>
          <a:xfrm rot="10800000" flipV="1">
            <a:off x="8176132" y="3856444"/>
            <a:ext cx="366102" cy="370534"/>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sp>
        <p:nvSpPr>
          <p:cNvPr id="2" name="Ellipse 1">
            <a:extLst>
              <a:ext uri="{FF2B5EF4-FFF2-40B4-BE49-F238E27FC236}">
                <a16:creationId xmlns:a16="http://schemas.microsoft.com/office/drawing/2014/main" id="{76F3CC8C-2298-D2B6-977C-919795A95313}"/>
              </a:ext>
            </a:extLst>
          </p:cNvPr>
          <p:cNvSpPr/>
          <p:nvPr/>
        </p:nvSpPr>
        <p:spPr>
          <a:xfrm>
            <a:off x="1798856" y="2442754"/>
            <a:ext cx="3172098" cy="3169740"/>
          </a:xfrm>
          <a:prstGeom prst="ellipse">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8577145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43612006-1114-04C5-6F9F-5C850AAB50F0}"/>
              </a:ext>
            </a:extLst>
          </p:cNvPr>
          <p:cNvSpPr/>
          <p:nvPr/>
        </p:nvSpPr>
        <p:spPr>
          <a:xfrm>
            <a:off x="959977" y="3105834"/>
            <a:ext cx="2109794" cy="64633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latin typeface="Haffer Light" panose="020B0604020202020204" charset="0"/>
                <a:cs typeface="Haffer Light" panose="020B0604020202020204" charset="0"/>
              </a:rPr>
              <a:t>a. 50% </a:t>
            </a:r>
            <a:r>
              <a:rPr lang="de-DE" dirty="0" err="1">
                <a:latin typeface="Haffer Light" panose="020B0604020202020204" charset="0"/>
                <a:cs typeface="Haffer Light" panose="020B0604020202020204" charset="0"/>
              </a:rPr>
              <a:t>lower</a:t>
            </a:r>
            <a:endParaRPr lang="de-DE" dirty="0">
              <a:latin typeface="Haffer Light" panose="020B0604020202020204" charset="0"/>
              <a:cs typeface="Haffer Light" panose="020B0604020202020204" charset="0"/>
            </a:endParaRPr>
          </a:p>
        </p:txBody>
      </p:sp>
      <p:sp>
        <p:nvSpPr>
          <p:cNvPr id="4" name="Textplatzhalter 3">
            <a:extLst>
              <a:ext uri="{FF2B5EF4-FFF2-40B4-BE49-F238E27FC236}">
                <a16:creationId xmlns:a16="http://schemas.microsoft.com/office/drawing/2014/main" id="{1CB8C950-8335-3AC1-364F-81B50A26F6DD}"/>
              </a:ext>
            </a:extLst>
          </p:cNvPr>
          <p:cNvSpPr>
            <a:spLocks noGrp="1"/>
          </p:cNvSpPr>
          <p:nvPr>
            <p:ph type="body" sz="quarter" idx="10"/>
          </p:nvPr>
        </p:nvSpPr>
        <p:spPr/>
        <p:txBody>
          <a:bodyPr/>
          <a:lstStyle/>
          <a:p>
            <a:r>
              <a:rPr lang="de-DE" sz="3600" dirty="0" err="1">
                <a:latin typeface="+mj-lt"/>
              </a:rPr>
              <a:t>Sensitivity</a:t>
            </a:r>
            <a:r>
              <a:rPr lang="de-DE" sz="3600" dirty="0">
                <a:latin typeface="+mj-lt"/>
              </a:rPr>
              <a:t>:</a:t>
            </a:r>
          </a:p>
        </p:txBody>
      </p:sp>
      <p:sp>
        <p:nvSpPr>
          <p:cNvPr id="3" name="Textplatzhalter 2">
            <a:extLst>
              <a:ext uri="{FF2B5EF4-FFF2-40B4-BE49-F238E27FC236}">
                <a16:creationId xmlns:a16="http://schemas.microsoft.com/office/drawing/2014/main" id="{31A1D429-DF2A-FF8D-141E-773B3897E51A}"/>
              </a:ext>
            </a:extLst>
          </p:cNvPr>
          <p:cNvSpPr>
            <a:spLocks noGrp="1"/>
          </p:cNvSpPr>
          <p:nvPr>
            <p:ph type="body" sz="quarter" idx="11"/>
          </p:nvPr>
        </p:nvSpPr>
        <p:spPr/>
        <p:txBody>
          <a:bodyPr/>
          <a:lstStyle/>
          <a:p>
            <a:r>
              <a:rPr lang="de-DE" dirty="0" err="1"/>
              <a:t>Flexibility</a:t>
            </a:r>
            <a:endParaRPr lang="de-DE" dirty="0"/>
          </a:p>
        </p:txBody>
      </p:sp>
      <p:sp>
        <p:nvSpPr>
          <p:cNvPr id="5" name="Textplatzhalter 4">
            <a:extLst>
              <a:ext uri="{FF2B5EF4-FFF2-40B4-BE49-F238E27FC236}">
                <a16:creationId xmlns:a16="http://schemas.microsoft.com/office/drawing/2014/main" id="{F05BBF77-1693-FAAB-5F0B-FD7628FD54F4}"/>
              </a:ext>
            </a:extLst>
          </p:cNvPr>
          <p:cNvSpPr>
            <a:spLocks noGrp="1"/>
          </p:cNvSpPr>
          <p:nvPr>
            <p:ph type="body" sz="quarter" idx="16"/>
          </p:nvPr>
        </p:nvSpPr>
        <p:spPr>
          <a:xfrm>
            <a:off x="959978" y="2072790"/>
            <a:ext cx="6252586" cy="859752"/>
          </a:xfrm>
        </p:spPr>
        <p:txBody>
          <a:bodyPr/>
          <a:lstStyle/>
          <a:p>
            <a:pPr marL="0" indent="0">
              <a:buNone/>
            </a:pPr>
            <a:r>
              <a:rPr lang="de-DE" dirty="0" err="1"/>
              <a:t>What</a:t>
            </a:r>
            <a:r>
              <a:rPr lang="de-DE" dirty="0"/>
              <a:t> </a:t>
            </a:r>
            <a:r>
              <a:rPr lang="de-DE" dirty="0" err="1"/>
              <a:t>would</a:t>
            </a:r>
            <a:r>
              <a:rPr lang="de-DE" dirty="0"/>
              <a:t> happen </a:t>
            </a:r>
            <a:r>
              <a:rPr lang="de-DE" dirty="0" err="1"/>
              <a:t>to</a:t>
            </a:r>
            <a:r>
              <a:rPr lang="de-DE" dirty="0"/>
              <a:t> </a:t>
            </a:r>
            <a:r>
              <a:rPr lang="de-DE" dirty="0" err="1"/>
              <a:t>the</a:t>
            </a:r>
            <a:r>
              <a:rPr lang="de-DE" dirty="0"/>
              <a:t> power </a:t>
            </a:r>
            <a:r>
              <a:rPr lang="de-DE" dirty="0" err="1"/>
              <a:t>price</a:t>
            </a:r>
            <a:r>
              <a:rPr lang="de-DE" dirty="0"/>
              <a:t>, </a:t>
            </a:r>
            <a:r>
              <a:rPr lang="de-DE" dirty="0" err="1"/>
              <a:t>if</a:t>
            </a:r>
            <a:r>
              <a:rPr lang="de-DE" dirty="0"/>
              <a:t> flexible demand was… </a:t>
            </a:r>
          </a:p>
        </p:txBody>
      </p:sp>
      <p:graphicFrame>
        <p:nvGraphicFramePr>
          <p:cNvPr id="18" name="Bildplatzhalter 17">
            <a:extLst>
              <a:ext uri="{FF2B5EF4-FFF2-40B4-BE49-F238E27FC236}">
                <a16:creationId xmlns:a16="http://schemas.microsoft.com/office/drawing/2014/main" id="{6BD6589B-6B7D-36ED-D37F-06DF64466BB1}"/>
              </a:ext>
            </a:extLst>
          </p:cNvPr>
          <p:cNvGraphicFramePr>
            <a:graphicFrameLocks noGrp="1"/>
          </p:cNvGraphicFramePr>
          <p:nvPr>
            <p:ph type="pic" sz="quarter" idx="4294967295"/>
          </p:nvPr>
        </p:nvGraphicFramePr>
        <p:xfrm>
          <a:off x="7315200" y="582613"/>
          <a:ext cx="4876800" cy="6275387"/>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feld 8">
            <a:extLst>
              <a:ext uri="{FF2B5EF4-FFF2-40B4-BE49-F238E27FC236}">
                <a16:creationId xmlns:a16="http://schemas.microsoft.com/office/drawing/2014/main" id="{8035FCCC-CFE3-C514-2ABE-44CD05662054}"/>
              </a:ext>
            </a:extLst>
          </p:cNvPr>
          <p:cNvSpPr txBox="1"/>
          <p:nvPr/>
        </p:nvSpPr>
        <p:spPr>
          <a:xfrm>
            <a:off x="3172407" y="4463852"/>
            <a:ext cx="4084653" cy="646331"/>
          </a:xfrm>
          <a:prstGeom prst="rect">
            <a:avLst/>
          </a:prstGeom>
          <a:noFill/>
        </p:spPr>
        <p:txBody>
          <a:bodyPr wrap="square">
            <a:spAutoFit/>
          </a:bodyPr>
          <a:lstStyle>
            <a:defPPr>
              <a:defRPr lang="nb-NO"/>
            </a:defPPr>
            <a:lvl1pPr indent="0">
              <a:buNone/>
              <a:defRPr>
                <a:latin typeface="Haffer Light" panose="020B0604020202020204" charset="0"/>
                <a:cs typeface="Haffer Light" panose="020B0604020202020204" charset="0"/>
              </a:defRPr>
            </a:lvl1pPr>
          </a:lstStyle>
          <a:p>
            <a:pPr marL="285750" indent="-285750">
              <a:buFont typeface="Arial" panose="020B0604020202020204" pitchFamily="34" charset="0"/>
              <a:buChar char="•"/>
            </a:pPr>
            <a:r>
              <a:rPr lang="en-US" dirty="0"/>
              <a:t>The spot market price would be reduced by 5 to 10 %</a:t>
            </a:r>
            <a:endParaRPr lang="de-DE" dirty="0"/>
          </a:p>
        </p:txBody>
      </p:sp>
      <p:sp>
        <p:nvSpPr>
          <p:cNvPr id="16" name="Textfeld 15">
            <a:extLst>
              <a:ext uri="{FF2B5EF4-FFF2-40B4-BE49-F238E27FC236}">
                <a16:creationId xmlns:a16="http://schemas.microsoft.com/office/drawing/2014/main" id="{13F31D32-32D5-7214-A266-4674E543A5E6}"/>
              </a:ext>
            </a:extLst>
          </p:cNvPr>
          <p:cNvSpPr txBox="1"/>
          <p:nvPr/>
        </p:nvSpPr>
        <p:spPr>
          <a:xfrm>
            <a:off x="3172407" y="3040901"/>
            <a:ext cx="4173818" cy="1200329"/>
          </a:xfrm>
          <a:prstGeom prst="rect">
            <a:avLst/>
          </a:prstGeom>
          <a:noFill/>
        </p:spPr>
        <p:txBody>
          <a:bodyPr wrap="square">
            <a:spAutoFit/>
          </a:bodyPr>
          <a:lstStyle/>
          <a:p>
            <a:pPr marL="285750" indent="-285750">
              <a:buFont typeface="Arial" panose="020B0604020202020204" pitchFamily="34" charset="0"/>
              <a:buChar char="•"/>
            </a:pPr>
            <a:r>
              <a:rPr lang="en-US" dirty="0">
                <a:latin typeface="Haffer Light" panose="020B0604020202020204" charset="0"/>
                <a:cs typeface="Haffer Light" panose="020B0604020202020204" charset="0"/>
              </a:rPr>
              <a:t>Next 10 years: power price to rise significantly</a:t>
            </a:r>
          </a:p>
          <a:p>
            <a:pPr marL="285750" indent="-285750">
              <a:buFont typeface="Arial" panose="020B0604020202020204" pitchFamily="34" charset="0"/>
              <a:buChar char="•"/>
            </a:pPr>
            <a:r>
              <a:rPr lang="en-US" dirty="0">
                <a:latin typeface="Haffer Light" panose="020B0604020202020204" charset="0"/>
                <a:cs typeface="Haffer Light" panose="020B0604020202020204" charset="0"/>
              </a:rPr>
              <a:t>After 2035: no big impact on the power price</a:t>
            </a:r>
            <a:endParaRPr lang="de-DE" dirty="0">
              <a:latin typeface="Haffer Light" panose="020B0604020202020204" charset="0"/>
              <a:cs typeface="Haffer Light" panose="020B0604020202020204" charset="0"/>
            </a:endParaRPr>
          </a:p>
        </p:txBody>
      </p:sp>
      <p:sp>
        <p:nvSpPr>
          <p:cNvPr id="19" name="Rechteck 18">
            <a:extLst>
              <a:ext uri="{FF2B5EF4-FFF2-40B4-BE49-F238E27FC236}">
                <a16:creationId xmlns:a16="http://schemas.microsoft.com/office/drawing/2014/main" id="{C9CE8EBC-EEB4-1C7D-D129-45C041B1A6EC}"/>
              </a:ext>
            </a:extLst>
          </p:cNvPr>
          <p:cNvSpPr/>
          <p:nvPr/>
        </p:nvSpPr>
        <p:spPr>
          <a:xfrm>
            <a:off x="972898" y="4602352"/>
            <a:ext cx="2109794" cy="646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latin typeface="Haffer Light" panose="020B0604020202020204" charset="0"/>
                <a:cs typeface="Haffer Light" panose="020B0604020202020204" charset="0"/>
              </a:rPr>
              <a:t>b. 50% </a:t>
            </a:r>
            <a:r>
              <a:rPr lang="de-DE" dirty="0" err="1">
                <a:latin typeface="Haffer Light" panose="020B0604020202020204" charset="0"/>
                <a:cs typeface="Haffer Light" panose="020B0604020202020204" charset="0"/>
              </a:rPr>
              <a:t>higher</a:t>
            </a:r>
            <a:endParaRPr lang="de-DE" dirty="0">
              <a:latin typeface="Haffer Light" panose="020B0604020202020204" charset="0"/>
              <a:cs typeface="Haffer Light" panose="020B0604020202020204" charset="0"/>
            </a:endParaRPr>
          </a:p>
        </p:txBody>
      </p:sp>
      <p:sp>
        <p:nvSpPr>
          <p:cNvPr id="2" name="Textfeld 1">
            <a:extLst>
              <a:ext uri="{FF2B5EF4-FFF2-40B4-BE49-F238E27FC236}">
                <a16:creationId xmlns:a16="http://schemas.microsoft.com/office/drawing/2014/main" id="{C9D2E6A1-5EEE-2601-7147-2531354FF423}"/>
              </a:ext>
            </a:extLst>
          </p:cNvPr>
          <p:cNvSpPr txBox="1"/>
          <p:nvPr/>
        </p:nvSpPr>
        <p:spPr>
          <a:xfrm>
            <a:off x="8219090" y="6483173"/>
            <a:ext cx="588580" cy="253916"/>
          </a:xfrm>
          <a:prstGeom prst="rect">
            <a:avLst/>
          </a:prstGeom>
          <a:solidFill>
            <a:schemeClr val="bg1"/>
          </a:solidFill>
        </p:spPr>
        <p:txBody>
          <a:bodyPr wrap="square" rtlCol="0">
            <a:spAutoFit/>
          </a:bodyPr>
          <a:lstStyle/>
          <a:p>
            <a:r>
              <a:rPr lang="de-DE" sz="1050" dirty="0"/>
              <a:t>Central</a:t>
            </a:r>
          </a:p>
        </p:txBody>
      </p:sp>
      <p:sp>
        <p:nvSpPr>
          <p:cNvPr id="6" name="Textfeld 5">
            <a:extLst>
              <a:ext uri="{FF2B5EF4-FFF2-40B4-BE49-F238E27FC236}">
                <a16:creationId xmlns:a16="http://schemas.microsoft.com/office/drawing/2014/main" id="{E5963368-315D-6F3A-9B1C-9DD1A80D36E6}"/>
              </a:ext>
            </a:extLst>
          </p:cNvPr>
          <p:cNvSpPr txBox="1"/>
          <p:nvPr/>
        </p:nvSpPr>
        <p:spPr>
          <a:xfrm>
            <a:off x="959977" y="6218789"/>
            <a:ext cx="5442416" cy="261610"/>
          </a:xfrm>
          <a:prstGeom prst="rect">
            <a:avLst/>
          </a:prstGeom>
          <a:noFill/>
        </p:spPr>
        <p:txBody>
          <a:bodyPr wrap="square" rtlCol="0">
            <a:spAutoFit/>
          </a:bodyPr>
          <a:lstStyle/>
          <a:p>
            <a:r>
              <a:rPr lang="de-DE" sz="1100" dirty="0">
                <a:latin typeface="Haffer" panose="020B0504030103020203" pitchFamily="34" charset="0"/>
                <a:ea typeface="Haffer" panose="020B0504030103020203" pitchFamily="34" charset="0"/>
                <a:cs typeface="Haffer" panose="020B0504030103020203" pitchFamily="34" charset="0"/>
              </a:rPr>
              <a:t>Source: Power Price Scenarios </a:t>
            </a:r>
            <a:r>
              <a:rPr lang="de-DE" sz="1100" dirty="0" err="1">
                <a:latin typeface="Haffer" panose="020B0504030103020203" pitchFamily="34" charset="0"/>
                <a:ea typeface="Haffer" panose="020B0504030103020203" pitchFamily="34" charset="0"/>
                <a:cs typeface="Haffer" panose="020B0504030103020203" pitchFamily="34" charset="0"/>
              </a:rPr>
              <a:t>from</a:t>
            </a:r>
            <a:r>
              <a:rPr lang="de-DE" sz="1100" dirty="0">
                <a:latin typeface="Haffer" panose="020B0504030103020203" pitchFamily="34" charset="0"/>
                <a:ea typeface="Haffer" panose="020B0504030103020203" pitchFamily="34" charset="0"/>
                <a:cs typeface="Haffer" panose="020B0504030103020203" pitchFamily="34" charset="0"/>
              </a:rPr>
              <a:t> Montel</a:t>
            </a:r>
          </a:p>
        </p:txBody>
      </p:sp>
    </p:spTree>
    <p:extLst>
      <p:ext uri="{BB962C8B-B14F-4D97-AF65-F5344CB8AC3E}">
        <p14:creationId xmlns:p14="http://schemas.microsoft.com/office/powerpoint/2010/main" val="72255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CA58BD6-3817-6DF6-59F6-45A094751E48}"/>
              </a:ext>
            </a:extLst>
          </p:cNvPr>
          <p:cNvSpPr>
            <a:spLocks noGrp="1"/>
          </p:cNvSpPr>
          <p:nvPr>
            <p:ph type="body" sz="quarter" idx="10"/>
          </p:nvPr>
        </p:nvSpPr>
        <p:spPr>
          <a:xfrm>
            <a:off x="959979" y="498764"/>
            <a:ext cx="6164262" cy="1239102"/>
          </a:xfrm>
        </p:spPr>
        <p:txBody>
          <a:bodyPr anchor="b">
            <a:normAutofit/>
          </a:bodyPr>
          <a:lstStyle/>
          <a:p>
            <a:r>
              <a:rPr lang="de-DE" sz="3600" dirty="0" err="1"/>
              <a:t>Let‘s</a:t>
            </a:r>
            <a:r>
              <a:rPr lang="de-DE" sz="3600" dirty="0"/>
              <a:t> </a:t>
            </a:r>
            <a:r>
              <a:rPr lang="de-DE" sz="3600" dirty="0" err="1"/>
              <a:t>stay</a:t>
            </a:r>
            <a:r>
              <a:rPr lang="de-DE" sz="3600" dirty="0"/>
              <a:t> in </a:t>
            </a:r>
            <a:r>
              <a:rPr lang="de-DE" sz="3600" dirty="0" err="1"/>
              <a:t>contact</a:t>
            </a:r>
            <a:r>
              <a:rPr lang="de-DE" sz="3600" dirty="0"/>
              <a:t>!</a:t>
            </a:r>
          </a:p>
        </p:txBody>
      </p:sp>
      <p:sp>
        <p:nvSpPr>
          <p:cNvPr id="11" name="Text Placeholder 2">
            <a:extLst>
              <a:ext uri="{FF2B5EF4-FFF2-40B4-BE49-F238E27FC236}">
                <a16:creationId xmlns:a16="http://schemas.microsoft.com/office/drawing/2014/main" id="{D40FCEF2-5FB7-D688-F1D3-B37C2A46ABF4}"/>
              </a:ext>
            </a:extLst>
          </p:cNvPr>
          <p:cNvSpPr>
            <a:spLocks noGrp="1"/>
          </p:cNvSpPr>
          <p:nvPr>
            <p:ph type="body" sz="quarter" idx="11"/>
          </p:nvPr>
        </p:nvSpPr>
        <p:spPr>
          <a:xfrm>
            <a:off x="959978" y="172880"/>
            <a:ext cx="6164263" cy="204720"/>
          </a:xfrm>
        </p:spPr>
        <p:txBody>
          <a:bodyPr/>
          <a:lstStyle/>
          <a:p>
            <a:endParaRPr lang="en-US"/>
          </a:p>
        </p:txBody>
      </p:sp>
      <p:sp>
        <p:nvSpPr>
          <p:cNvPr id="18" name="Picture Placeholder 5">
            <a:extLst>
              <a:ext uri="{FF2B5EF4-FFF2-40B4-BE49-F238E27FC236}">
                <a16:creationId xmlns:a16="http://schemas.microsoft.com/office/drawing/2014/main" id="{8CF2F0EE-38F9-2E36-EA87-993BEFCAF901}"/>
              </a:ext>
            </a:extLst>
          </p:cNvPr>
          <p:cNvSpPr>
            <a:spLocks noGrp="1"/>
          </p:cNvSpPr>
          <p:nvPr>
            <p:ph type="pic" sz="quarter" idx="15"/>
          </p:nvPr>
        </p:nvSpPr>
        <p:spPr>
          <a:xfrm>
            <a:off x="7844080" y="3783540"/>
            <a:ext cx="2406124" cy="2406124"/>
          </a:xfrm>
        </p:spPr>
        <p:txBody>
          <a:bodyPr/>
          <a:lstStyle/>
          <a:p>
            <a:endParaRPr lang="de-DE"/>
          </a:p>
        </p:txBody>
      </p:sp>
      <p:sp>
        <p:nvSpPr>
          <p:cNvPr id="7" name="Textplatzhalter 6">
            <a:extLst>
              <a:ext uri="{FF2B5EF4-FFF2-40B4-BE49-F238E27FC236}">
                <a16:creationId xmlns:a16="http://schemas.microsoft.com/office/drawing/2014/main" id="{972CC19E-0955-B393-1931-6E49B07E34B0}"/>
              </a:ext>
            </a:extLst>
          </p:cNvPr>
          <p:cNvSpPr>
            <a:spLocks noGrp="1"/>
          </p:cNvSpPr>
          <p:nvPr>
            <p:ph type="body" sz="quarter" idx="16"/>
          </p:nvPr>
        </p:nvSpPr>
        <p:spPr>
          <a:xfrm>
            <a:off x="959978" y="2072789"/>
            <a:ext cx="6164262" cy="4011613"/>
          </a:xfrm>
        </p:spPr>
        <p:txBody>
          <a:bodyPr>
            <a:normAutofit/>
          </a:bodyPr>
          <a:lstStyle/>
          <a:p>
            <a:pPr marL="0" indent="0">
              <a:buNone/>
            </a:pPr>
            <a:r>
              <a:rPr lang="de-DE"/>
              <a:t>Josephine Steppat</a:t>
            </a:r>
          </a:p>
          <a:p>
            <a:pPr marL="0" indent="0">
              <a:buNone/>
            </a:pPr>
            <a:r>
              <a:rPr lang="de-DE"/>
              <a:t>Analyst</a:t>
            </a:r>
            <a:endParaRPr lang="de-DE" dirty="0"/>
          </a:p>
          <a:p>
            <a:pPr marL="0" indent="0">
              <a:buNone/>
            </a:pPr>
            <a:endParaRPr lang="de-DE" dirty="0"/>
          </a:p>
          <a:p>
            <a:pPr marL="0" indent="0">
              <a:buNone/>
            </a:pPr>
            <a:r>
              <a:rPr lang="de-DE" dirty="0"/>
              <a:t>Montel Analytics</a:t>
            </a:r>
          </a:p>
          <a:p>
            <a:pPr marL="0" indent="0">
              <a:buNone/>
            </a:pPr>
            <a:r>
              <a:rPr lang="de-DE" dirty="0" err="1">
                <a:hlinkClick r:id="rId2"/>
              </a:rPr>
              <a:t>josephine.steppat@montel.energy</a:t>
            </a:r>
            <a:endParaRPr lang="de-DE" dirty="0"/>
          </a:p>
          <a:p>
            <a:pPr marL="0" indent="0">
              <a:buNone/>
            </a:pPr>
            <a:r>
              <a:rPr lang="de-DE" dirty="0"/>
              <a:t>+49 162 9295877 </a:t>
            </a:r>
          </a:p>
        </p:txBody>
      </p:sp>
      <p:pic>
        <p:nvPicPr>
          <p:cNvPr id="10" name="Bildplatzhalter 8" descr="Ein Bild, das Menschliches Gesicht, Person, Lächeln, Kleidung enthält.&#10;&#10;Automatisch generierte Beschreibung">
            <a:extLst>
              <a:ext uri="{FF2B5EF4-FFF2-40B4-BE49-F238E27FC236}">
                <a16:creationId xmlns:a16="http://schemas.microsoft.com/office/drawing/2014/main" id="{68943A61-5728-A4D6-B579-1F139D586351}"/>
              </a:ext>
            </a:extLst>
          </p:cNvPr>
          <p:cNvPicPr>
            <a:picLocks noGrp="1" noChangeAspect="1"/>
          </p:cNvPicPr>
          <p:nvPr>
            <p:ph type="pic" sz="quarter" idx="14"/>
          </p:nvPr>
        </p:nvPicPr>
        <p:blipFill>
          <a:blip r:embed="rId3"/>
          <a:srcRect l="16667" r="16667"/>
          <a:stretch/>
        </p:blipFill>
        <p:spPr>
          <a:xfrm>
            <a:off x="8984343" y="949325"/>
            <a:ext cx="3131457" cy="3131457"/>
          </a:xfrm>
          <a:noFill/>
        </p:spPr>
      </p:pic>
      <p:sp>
        <p:nvSpPr>
          <p:cNvPr id="13" name="Bildplatzhalter 12">
            <a:extLst>
              <a:ext uri="{FF2B5EF4-FFF2-40B4-BE49-F238E27FC236}">
                <a16:creationId xmlns:a16="http://schemas.microsoft.com/office/drawing/2014/main" id="{9066476C-25EC-FB9B-3F19-EE7BF9C5D0EA}"/>
              </a:ext>
            </a:extLst>
          </p:cNvPr>
          <p:cNvSpPr>
            <a:spLocks noGrp="1"/>
          </p:cNvSpPr>
          <p:nvPr>
            <p:ph type="pic" sz="quarter" idx="13"/>
          </p:nvPr>
        </p:nvSpPr>
        <p:spPr/>
        <p:txBody>
          <a:bodyPr/>
          <a:lstStyle/>
          <a:p>
            <a:endParaRPr lang="de-DE"/>
          </a:p>
        </p:txBody>
      </p:sp>
    </p:spTree>
    <p:extLst>
      <p:ext uri="{BB962C8B-B14F-4D97-AF65-F5344CB8AC3E}">
        <p14:creationId xmlns:p14="http://schemas.microsoft.com/office/powerpoint/2010/main" val="31150523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Textplatzhalter 4"/>
          <p:cNvSpPr>
            <a:spLocks noGrp="1"/>
          </p:cNvSpPr>
          <p:nvPr>
            <p:ph type="body" sz="quarter" idx="11"/>
          </p:nvPr>
        </p:nvSpPr>
        <p:spPr>
          <a:xfrm>
            <a:off x="9953372" y="6233542"/>
            <a:ext cx="1277612" cy="245616"/>
          </a:xfrm>
        </p:spPr>
        <p:txBody>
          <a:bodyPr/>
          <a:lstStyle/>
          <a:p>
            <a:r>
              <a:rPr lang="de-DE" sz="1000" dirty="0"/>
              <a:t>Source: EPEX Spot</a:t>
            </a:r>
          </a:p>
        </p:txBody>
      </p:sp>
      <p:sp>
        <p:nvSpPr>
          <p:cNvPr id="4" name="Textplatzhalter 3">
            <a:extLst>
              <a:ext uri="{FF2B5EF4-FFF2-40B4-BE49-F238E27FC236}">
                <a16:creationId xmlns:a16="http://schemas.microsoft.com/office/drawing/2014/main" id="{DBCD45CD-E9CF-060D-97F3-2047C5CA6313}"/>
              </a:ext>
            </a:extLst>
          </p:cNvPr>
          <p:cNvSpPr>
            <a:spLocks noGrp="1"/>
          </p:cNvSpPr>
          <p:nvPr>
            <p:ph type="body" sz="quarter" idx="12"/>
          </p:nvPr>
        </p:nvSpPr>
        <p:spPr/>
        <p:txBody>
          <a:bodyPr/>
          <a:lstStyle/>
          <a:p>
            <a:r>
              <a:rPr lang="de-DE" dirty="0"/>
              <a:t>Extreme </a:t>
            </a:r>
            <a:r>
              <a:rPr lang="de-DE" dirty="0" err="1"/>
              <a:t>price</a:t>
            </a:r>
            <a:endParaRPr lang="de-DE" dirty="0"/>
          </a:p>
        </p:txBody>
      </p:sp>
      <p:sp>
        <p:nvSpPr>
          <p:cNvPr id="2" name="Titel 1"/>
          <p:cNvSpPr>
            <a:spLocks noGrp="1"/>
          </p:cNvSpPr>
          <p:nvPr>
            <p:ph type="title" idx="4294967295"/>
          </p:nvPr>
        </p:nvSpPr>
        <p:spPr>
          <a:xfrm>
            <a:off x="477259" y="627225"/>
            <a:ext cx="10753725" cy="800100"/>
          </a:xfrm>
          <a:prstGeom prst="rect">
            <a:avLst/>
          </a:prstGeom>
        </p:spPr>
        <p:txBody>
          <a:bodyPr/>
          <a:lstStyle/>
          <a:p>
            <a:r>
              <a:rPr lang="en-US" sz="3600" dirty="0"/>
              <a:t>Historical development of hourly spot prices in Germany</a:t>
            </a:r>
            <a:endParaRPr lang="de-DE" sz="3600" dirty="0"/>
          </a:p>
        </p:txBody>
      </p:sp>
      <p:sp>
        <p:nvSpPr>
          <p:cNvPr id="3" name="Foliennummernplatzhalter 2"/>
          <p:cNvSpPr>
            <a:spLocks noGrp="1"/>
          </p:cNvSpPr>
          <p:nvPr>
            <p:ph type="sldNum" sz="quarter" idx="4294967295"/>
          </p:nvPr>
        </p:nvSpPr>
        <p:spPr>
          <a:xfrm>
            <a:off x="11588750" y="6356350"/>
            <a:ext cx="603250" cy="365125"/>
          </a:xfrm>
        </p:spPr>
        <p:txBody>
          <a:bodyPr/>
          <a:lstStyle/>
          <a:p>
            <a:pPr>
              <a:defRPr/>
            </a:pPr>
            <a:fld id="{B1C4D34D-6A6C-4A32-9364-46C43CFEB473}" type="slidenum">
              <a:rPr lang="de-DE" smtClean="0"/>
              <a:pPr>
                <a:defRPr/>
              </a:pPr>
              <a:t>2</a:t>
            </a:fld>
            <a:endParaRPr lang="de-DE" dirty="0"/>
          </a:p>
        </p:txBody>
      </p:sp>
      <p:pic>
        <p:nvPicPr>
          <p:cNvPr id="8" name="Picture 9" descr="2025-01-22-hourly_power_DE.png">
            <a:extLst>
              <a:ext uri="{FF2B5EF4-FFF2-40B4-BE49-F238E27FC236}">
                <a16:creationId xmlns:a16="http://schemas.microsoft.com/office/drawing/2014/main" id="{88A3B643-AD95-23D9-0178-5B7AA42790C4}"/>
              </a:ext>
            </a:extLst>
          </p:cNvPr>
          <p:cNvPicPr>
            <a:picLocks noGrp="1" noChangeAspect="1"/>
          </p:cNvPicPr>
          <p:nvPr>
            <p:ph sz="quarter" idx="13"/>
          </p:nvPr>
        </p:nvPicPr>
        <p:blipFill>
          <a:blip r:embed="rId4"/>
          <a:stretch>
            <a:fillRect/>
          </a:stretch>
        </p:blipFill>
        <p:spPr>
          <a:xfrm>
            <a:off x="939804" y="1635162"/>
            <a:ext cx="9137546" cy="4636159"/>
          </a:xfrm>
          <a:prstGeom prst="rect">
            <a:avLst/>
          </a:prstGeom>
        </p:spPr>
      </p:pic>
    </p:spTree>
    <p:custDataLst>
      <p:custData r:id="rId1"/>
    </p:custDataLst>
    <p:extLst>
      <p:ext uri="{BB962C8B-B14F-4D97-AF65-F5344CB8AC3E}">
        <p14:creationId xmlns:p14="http://schemas.microsoft.com/office/powerpoint/2010/main" val="5357110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87CAD8B-0A65-1D0B-3094-3F7666F18C6A}"/>
              </a:ext>
            </a:extLst>
          </p:cNvPr>
          <p:cNvSpPr>
            <a:spLocks noGrp="1"/>
          </p:cNvSpPr>
          <p:nvPr>
            <p:ph type="body" sz="quarter" idx="10"/>
          </p:nvPr>
        </p:nvSpPr>
        <p:spPr>
          <a:xfrm>
            <a:off x="487012" y="161838"/>
            <a:ext cx="8471189" cy="1239102"/>
          </a:xfrm>
        </p:spPr>
        <p:txBody>
          <a:bodyPr/>
          <a:lstStyle/>
          <a:p>
            <a:r>
              <a:rPr lang="en-US" sz="3600" b="0" i="0" dirty="0">
                <a:effectLst/>
                <a:latin typeface="+mj-lt"/>
              </a:rPr>
              <a:t>Examples of events with high volatility</a:t>
            </a:r>
          </a:p>
        </p:txBody>
      </p:sp>
      <p:sp>
        <p:nvSpPr>
          <p:cNvPr id="4" name="Textplatzhalter 3">
            <a:extLst>
              <a:ext uri="{FF2B5EF4-FFF2-40B4-BE49-F238E27FC236}">
                <a16:creationId xmlns:a16="http://schemas.microsoft.com/office/drawing/2014/main" id="{90DA8C0A-3DF5-B29C-2D1C-E4B77AB65F89}"/>
              </a:ext>
            </a:extLst>
          </p:cNvPr>
          <p:cNvSpPr>
            <a:spLocks noGrp="1"/>
          </p:cNvSpPr>
          <p:nvPr>
            <p:ph type="body" sz="quarter" idx="16"/>
          </p:nvPr>
        </p:nvSpPr>
        <p:spPr/>
        <p:txBody>
          <a:bodyPr/>
          <a:lstStyle/>
          <a:p>
            <a:r>
              <a:rPr lang="en-US" sz="2400" dirty="0">
                <a:latin typeface="Aptos" panose="020B0004020202020204" pitchFamily="34" charset="0"/>
              </a:rPr>
              <a:t>2 July 2023 (solar surplus): -500 EUR/MWh on the DA market</a:t>
            </a:r>
          </a:p>
          <a:p>
            <a:r>
              <a:rPr lang="en-US" sz="2400" dirty="0">
                <a:latin typeface="Aptos" panose="020B0004020202020204" pitchFamily="34" charset="0"/>
              </a:rPr>
              <a:t>26 June 2024 (decoupling of the markets): +2326 EUR/MWh on the DA market</a:t>
            </a:r>
          </a:p>
          <a:p>
            <a:r>
              <a:rPr lang="en-US" sz="2400" dirty="0">
                <a:latin typeface="Aptos" panose="020B0004020202020204" pitchFamily="34" charset="0"/>
              </a:rPr>
              <a:t>06 December 2024 (“</a:t>
            </a:r>
            <a:r>
              <a:rPr lang="en-US" sz="2400" dirty="0" err="1">
                <a:latin typeface="Aptos" panose="020B0004020202020204" pitchFamily="34" charset="0"/>
              </a:rPr>
              <a:t>Dunkelflaute</a:t>
            </a:r>
            <a:r>
              <a:rPr lang="en-US" sz="2400" dirty="0">
                <a:latin typeface="Aptos" panose="020B0004020202020204" pitchFamily="34" charset="0"/>
              </a:rPr>
              <a:t>”): +805,08 EUR/MWh on the DA market</a:t>
            </a:r>
            <a:endParaRPr lang="de-DE" dirty="0"/>
          </a:p>
        </p:txBody>
      </p:sp>
      <p:pic>
        <p:nvPicPr>
          <p:cNvPr id="18" name="Bildplatzhalter 17" descr="Ein Bild, das Schrift, Logo, Grafiken, weiß enthält.&#10;&#10;Automatisch generierte Beschreibung">
            <a:extLst>
              <a:ext uri="{FF2B5EF4-FFF2-40B4-BE49-F238E27FC236}">
                <a16:creationId xmlns:a16="http://schemas.microsoft.com/office/drawing/2014/main" id="{7E485865-C300-10D0-198D-BF1B1196BC27}"/>
              </a:ext>
            </a:extLst>
          </p:cNvPr>
          <p:cNvPicPr>
            <a:picLocks noGrp="1" noChangeAspect="1"/>
          </p:cNvPicPr>
          <p:nvPr>
            <p:ph type="pic" sz="quarter" idx="19"/>
          </p:nvPr>
        </p:nvPicPr>
        <p:blipFill>
          <a:blip r:embed="rId3"/>
          <a:srcRect t="14441" b="14441"/>
          <a:stretch>
            <a:fillRect/>
          </a:stretch>
        </p:blipFill>
        <p:spPr>
          <a:ln>
            <a:solidFill>
              <a:schemeClr val="bg2">
                <a:lumMod val="90000"/>
              </a:schemeClr>
            </a:solidFill>
          </a:ln>
        </p:spPr>
      </p:pic>
      <p:pic>
        <p:nvPicPr>
          <p:cNvPr id="16" name="Bildplatzhalter 15" descr="Ein Bild, das Solarzelle, solar, Solarenergie, Solarpanel enthält.&#10;&#10;Automatisch generierte Beschreibung">
            <a:extLst>
              <a:ext uri="{FF2B5EF4-FFF2-40B4-BE49-F238E27FC236}">
                <a16:creationId xmlns:a16="http://schemas.microsoft.com/office/drawing/2014/main" id="{78E5C155-A790-065F-5072-2092F0570D93}"/>
              </a:ext>
            </a:extLst>
          </p:cNvPr>
          <p:cNvPicPr>
            <a:picLocks noGrp="1" noChangeAspect="1"/>
          </p:cNvPicPr>
          <p:nvPr>
            <p:ph type="pic" sz="quarter" idx="17"/>
          </p:nvPr>
        </p:nvPicPr>
        <p:blipFill>
          <a:blip r:embed="rId4"/>
          <a:srcRect l="10629" r="10629"/>
          <a:stretch>
            <a:fillRect/>
          </a:stretch>
        </p:blipFill>
        <p:spPr>
          <a:ln>
            <a:solidFill>
              <a:schemeClr val="bg2">
                <a:lumMod val="90000"/>
              </a:schemeClr>
            </a:solidFill>
          </a:ln>
        </p:spPr>
      </p:pic>
      <p:sp>
        <p:nvSpPr>
          <p:cNvPr id="6" name="Textplatzhalter 5">
            <a:extLst>
              <a:ext uri="{FF2B5EF4-FFF2-40B4-BE49-F238E27FC236}">
                <a16:creationId xmlns:a16="http://schemas.microsoft.com/office/drawing/2014/main" id="{37674F3C-D14D-70CC-67CF-92542A26EABC}"/>
              </a:ext>
            </a:extLst>
          </p:cNvPr>
          <p:cNvSpPr>
            <a:spLocks noGrp="1"/>
          </p:cNvSpPr>
          <p:nvPr>
            <p:ph type="body" sz="quarter" idx="11"/>
          </p:nvPr>
        </p:nvSpPr>
        <p:spPr/>
        <p:txBody>
          <a:bodyPr/>
          <a:lstStyle/>
          <a:p>
            <a:r>
              <a:rPr lang="de-DE" dirty="0"/>
              <a:t>Extreme </a:t>
            </a:r>
            <a:r>
              <a:rPr lang="de-DE" dirty="0" err="1"/>
              <a:t>price</a:t>
            </a:r>
            <a:endParaRPr lang="de-DE" dirty="0"/>
          </a:p>
        </p:txBody>
      </p:sp>
      <p:pic>
        <p:nvPicPr>
          <p:cNvPr id="8" name="Bildplatzhalter 7">
            <a:extLst>
              <a:ext uri="{FF2B5EF4-FFF2-40B4-BE49-F238E27FC236}">
                <a16:creationId xmlns:a16="http://schemas.microsoft.com/office/drawing/2014/main" id="{791DEF7D-D301-A03E-4D4C-1399E35DD931}"/>
              </a:ext>
            </a:extLst>
          </p:cNvPr>
          <p:cNvPicPr>
            <a:picLocks noGrp="1" noChangeAspect="1"/>
          </p:cNvPicPr>
          <p:nvPr>
            <p:ph type="pic" sz="quarter" idx="18"/>
          </p:nvPr>
        </p:nvPicPr>
        <p:blipFill>
          <a:blip r:embed="rId5"/>
          <a:srcRect l="3476" r="3476"/>
          <a:stretch/>
        </p:blipFill>
        <p:spPr/>
      </p:pic>
    </p:spTree>
    <p:extLst>
      <p:ext uri="{BB962C8B-B14F-4D97-AF65-F5344CB8AC3E}">
        <p14:creationId xmlns:p14="http://schemas.microsoft.com/office/powerpoint/2010/main" val="920877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9431511" y="6275388"/>
            <a:ext cx="2315839" cy="321697"/>
          </a:xfrm>
        </p:spPr>
        <p:txBody>
          <a:bodyPr/>
          <a:lstStyle/>
          <a:p>
            <a:r>
              <a:rPr lang="de-DE" sz="1000" dirty="0"/>
              <a:t>Source: EPEX Spot, own </a:t>
            </a:r>
            <a:r>
              <a:rPr lang="de-DE" sz="1000" dirty="0" err="1"/>
              <a:t>calculation</a:t>
            </a:r>
            <a:endParaRPr lang="de-DE" sz="1000" dirty="0"/>
          </a:p>
        </p:txBody>
      </p:sp>
      <p:sp>
        <p:nvSpPr>
          <p:cNvPr id="7" name="Textplatzhalter 6">
            <a:extLst>
              <a:ext uri="{FF2B5EF4-FFF2-40B4-BE49-F238E27FC236}">
                <a16:creationId xmlns:a16="http://schemas.microsoft.com/office/drawing/2014/main" id="{64FB6F80-9C39-E3E3-4007-5208BB00C493}"/>
              </a:ext>
            </a:extLst>
          </p:cNvPr>
          <p:cNvSpPr>
            <a:spLocks noGrp="1"/>
          </p:cNvSpPr>
          <p:nvPr>
            <p:ph type="body" sz="quarter" idx="12"/>
          </p:nvPr>
        </p:nvSpPr>
        <p:spPr/>
        <p:txBody>
          <a:bodyPr/>
          <a:lstStyle/>
          <a:p>
            <a:r>
              <a:rPr lang="de-DE" dirty="0"/>
              <a:t>Extreme </a:t>
            </a:r>
            <a:r>
              <a:rPr lang="de-DE" dirty="0" err="1"/>
              <a:t>price</a:t>
            </a:r>
            <a:endParaRPr lang="de-DE" dirty="0"/>
          </a:p>
        </p:txBody>
      </p:sp>
      <p:graphicFrame>
        <p:nvGraphicFramePr>
          <p:cNvPr id="8" name="Inhaltsplatzhalter 7"/>
          <p:cNvGraphicFramePr>
            <a:graphicFrameLocks noGrp="1"/>
          </p:cNvGraphicFramePr>
          <p:nvPr>
            <p:ph sz="quarter" idx="13"/>
            <p:extLst>
              <p:ext uri="{D42A27DB-BD31-4B8C-83A1-F6EECF244321}">
                <p14:modId xmlns:p14="http://schemas.microsoft.com/office/powerpoint/2010/main" val="126610617"/>
              </p:ext>
            </p:extLst>
          </p:nvPr>
        </p:nvGraphicFramePr>
        <p:xfrm>
          <a:off x="960438" y="2178050"/>
          <a:ext cx="10174287" cy="4097338"/>
        </p:xfrm>
        <a:graphic>
          <a:graphicData uri="http://schemas.openxmlformats.org/drawingml/2006/chart">
            <c:chart xmlns:c="http://schemas.openxmlformats.org/drawingml/2006/chart" xmlns:r="http://schemas.openxmlformats.org/officeDocument/2006/relationships" r:id="rId4"/>
          </a:graphicData>
        </a:graphic>
      </p:graphicFrame>
      <p:sp>
        <p:nvSpPr>
          <p:cNvPr id="5" name="Titel 4"/>
          <p:cNvSpPr>
            <a:spLocks noGrp="1"/>
          </p:cNvSpPr>
          <p:nvPr>
            <p:ph type="title" idx="4294967295"/>
          </p:nvPr>
        </p:nvSpPr>
        <p:spPr>
          <a:xfrm>
            <a:off x="670718" y="582612"/>
            <a:ext cx="10753725" cy="800100"/>
          </a:xfrm>
          <a:prstGeom prst="rect">
            <a:avLst/>
          </a:prstGeom>
        </p:spPr>
        <p:txBody>
          <a:bodyPr/>
          <a:lstStyle/>
          <a:p>
            <a:r>
              <a:rPr lang="en-US" sz="3600" dirty="0"/>
              <a:t>Development of negative prices on the day-ahead spot market</a:t>
            </a:r>
            <a:endParaRPr lang="de-DE" sz="3600" dirty="0"/>
          </a:p>
        </p:txBody>
      </p:sp>
      <p:sp>
        <p:nvSpPr>
          <p:cNvPr id="6" name="Foliennummernplatzhalter 5">
            <a:extLst>
              <a:ext uri="{FF2B5EF4-FFF2-40B4-BE49-F238E27FC236}">
                <a16:creationId xmlns:a16="http://schemas.microsoft.com/office/drawing/2014/main" id="{29968520-D199-1E29-5395-F839A14C586B}"/>
              </a:ext>
            </a:extLst>
          </p:cNvPr>
          <p:cNvSpPr>
            <a:spLocks noGrp="1"/>
          </p:cNvSpPr>
          <p:nvPr>
            <p:ph type="sldNum" sz="quarter" idx="4294967295"/>
          </p:nvPr>
        </p:nvSpPr>
        <p:spPr>
          <a:xfrm>
            <a:off x="11588750" y="6356350"/>
            <a:ext cx="603250" cy="365125"/>
          </a:xfrm>
        </p:spPr>
        <p:txBody>
          <a:bodyPr/>
          <a:lstStyle/>
          <a:p>
            <a:pPr>
              <a:defRPr/>
            </a:pPr>
            <a:fld id="{B1C4D34D-6A6C-4A32-9364-46C43CFEB473}" type="slidenum">
              <a:rPr lang="de-DE" smtClean="0"/>
              <a:pPr>
                <a:defRPr/>
              </a:pPr>
              <a:t>4</a:t>
            </a:fld>
            <a:endParaRPr lang="de-DE" dirty="0"/>
          </a:p>
        </p:txBody>
      </p:sp>
      <p:sp>
        <p:nvSpPr>
          <p:cNvPr id="9" name="Rechteck 8">
            <a:extLst>
              <a:ext uri="{FF2B5EF4-FFF2-40B4-BE49-F238E27FC236}">
                <a16:creationId xmlns:a16="http://schemas.microsoft.com/office/drawing/2014/main" id="{A0E7BFD1-5D2E-39A5-DC68-16AE78664E17}"/>
              </a:ext>
            </a:extLst>
          </p:cNvPr>
          <p:cNvSpPr/>
          <p:nvPr/>
        </p:nvSpPr>
        <p:spPr>
          <a:xfrm>
            <a:off x="7465752" y="5940792"/>
            <a:ext cx="4029075" cy="17204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000" dirty="0">
                <a:solidFill>
                  <a:schemeClr val="tx1"/>
                </a:solidFill>
              </a:rPr>
              <a:t>Minimal negative </a:t>
            </a:r>
            <a:r>
              <a:rPr lang="de-DE" sz="1000" dirty="0" err="1">
                <a:solidFill>
                  <a:schemeClr val="tx1"/>
                </a:solidFill>
              </a:rPr>
              <a:t>price</a:t>
            </a:r>
            <a:r>
              <a:rPr lang="de-DE" sz="1000" dirty="0">
                <a:solidFill>
                  <a:schemeClr val="tx1"/>
                </a:solidFill>
              </a:rPr>
              <a:t> in EUR/MWh</a:t>
            </a:r>
          </a:p>
        </p:txBody>
      </p:sp>
      <p:sp>
        <p:nvSpPr>
          <p:cNvPr id="10" name="Rechteck 9">
            <a:extLst>
              <a:ext uri="{FF2B5EF4-FFF2-40B4-BE49-F238E27FC236}">
                <a16:creationId xmlns:a16="http://schemas.microsoft.com/office/drawing/2014/main" id="{EEB10BA5-446B-5BF6-095B-56D5F8E3796B}"/>
              </a:ext>
            </a:extLst>
          </p:cNvPr>
          <p:cNvSpPr/>
          <p:nvPr/>
        </p:nvSpPr>
        <p:spPr>
          <a:xfrm>
            <a:off x="4171809" y="5942023"/>
            <a:ext cx="3078846" cy="17081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000" dirty="0">
                <a:solidFill>
                  <a:schemeClr val="tx1"/>
                </a:solidFill>
              </a:rPr>
              <a:t>Average neagtive </a:t>
            </a:r>
            <a:r>
              <a:rPr lang="de-DE" sz="1000" dirty="0" err="1">
                <a:solidFill>
                  <a:schemeClr val="tx1"/>
                </a:solidFill>
              </a:rPr>
              <a:t>price</a:t>
            </a:r>
            <a:r>
              <a:rPr lang="de-DE" sz="1000" dirty="0">
                <a:solidFill>
                  <a:schemeClr val="tx1"/>
                </a:solidFill>
              </a:rPr>
              <a:t> in EUR/MWh</a:t>
            </a:r>
          </a:p>
        </p:txBody>
      </p:sp>
      <p:sp>
        <p:nvSpPr>
          <p:cNvPr id="11" name="Rechteck 10">
            <a:extLst>
              <a:ext uri="{FF2B5EF4-FFF2-40B4-BE49-F238E27FC236}">
                <a16:creationId xmlns:a16="http://schemas.microsoft.com/office/drawing/2014/main" id="{F1CB943F-2158-A0A4-8B2B-5D5397C41B59}"/>
              </a:ext>
            </a:extLst>
          </p:cNvPr>
          <p:cNvSpPr/>
          <p:nvPr/>
        </p:nvSpPr>
        <p:spPr>
          <a:xfrm>
            <a:off x="2302137" y="5964607"/>
            <a:ext cx="1600122" cy="1754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de-DE" sz="1100" dirty="0">
                <a:solidFill>
                  <a:schemeClr val="tx1"/>
                </a:solidFill>
              </a:rPr>
              <a:t>Number of negative prices</a:t>
            </a:r>
          </a:p>
        </p:txBody>
      </p:sp>
    </p:spTree>
    <p:custDataLst>
      <p:custData r:id="rId1"/>
    </p:custDataLst>
    <p:extLst>
      <p:ext uri="{BB962C8B-B14F-4D97-AF65-F5344CB8AC3E}">
        <p14:creationId xmlns:p14="http://schemas.microsoft.com/office/powerpoint/2010/main" val="25559883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9421354" y="6275157"/>
            <a:ext cx="2306189" cy="290781"/>
          </a:xfrm>
        </p:spPr>
        <p:txBody>
          <a:bodyPr/>
          <a:lstStyle/>
          <a:p>
            <a:r>
              <a:rPr lang="de-DE" sz="1000" dirty="0"/>
              <a:t>Source: EPEX Spot, own </a:t>
            </a:r>
            <a:r>
              <a:rPr lang="de-DE" sz="1000" dirty="0" err="1"/>
              <a:t>calculation</a:t>
            </a:r>
            <a:endParaRPr lang="de-DE" sz="1000" dirty="0"/>
          </a:p>
        </p:txBody>
      </p:sp>
      <p:sp>
        <p:nvSpPr>
          <p:cNvPr id="7" name="Textplatzhalter 6">
            <a:extLst>
              <a:ext uri="{FF2B5EF4-FFF2-40B4-BE49-F238E27FC236}">
                <a16:creationId xmlns:a16="http://schemas.microsoft.com/office/drawing/2014/main" id="{BA4EEC49-E149-BD17-DBD3-ED69A48325C8}"/>
              </a:ext>
            </a:extLst>
          </p:cNvPr>
          <p:cNvSpPr>
            <a:spLocks noGrp="1"/>
          </p:cNvSpPr>
          <p:nvPr>
            <p:ph type="body" sz="quarter" idx="12"/>
          </p:nvPr>
        </p:nvSpPr>
        <p:spPr/>
        <p:txBody>
          <a:bodyPr/>
          <a:lstStyle/>
          <a:p>
            <a:r>
              <a:rPr lang="de-DE" dirty="0"/>
              <a:t>Extreme </a:t>
            </a:r>
            <a:r>
              <a:rPr lang="de-DE" dirty="0" err="1"/>
              <a:t>price</a:t>
            </a:r>
            <a:endParaRPr lang="de-DE" dirty="0"/>
          </a:p>
        </p:txBody>
      </p:sp>
      <p:sp>
        <p:nvSpPr>
          <p:cNvPr id="12" name="Inhaltsplatzhalter 11">
            <a:extLst>
              <a:ext uri="{FF2B5EF4-FFF2-40B4-BE49-F238E27FC236}">
                <a16:creationId xmlns:a16="http://schemas.microsoft.com/office/drawing/2014/main" id="{5FBBD4C7-49A9-2EF6-B975-1F6DAB3F2870}"/>
              </a:ext>
            </a:extLst>
          </p:cNvPr>
          <p:cNvSpPr>
            <a:spLocks noGrp="1"/>
          </p:cNvSpPr>
          <p:nvPr>
            <p:ph sz="quarter" idx="13"/>
          </p:nvPr>
        </p:nvSpPr>
        <p:spPr>
          <a:xfrm>
            <a:off x="535780" y="1280670"/>
            <a:ext cx="5284447" cy="4096733"/>
          </a:xfrm>
        </p:spPr>
        <p:txBody>
          <a:bodyPr/>
          <a:lstStyle/>
          <a:p>
            <a:r>
              <a:rPr lang="de-DE" sz="1600" dirty="0"/>
              <a:t>2024 in </a:t>
            </a:r>
            <a:r>
              <a:rPr lang="de-DE" sz="1600" dirty="0" err="1"/>
              <a:t>numbers</a:t>
            </a:r>
            <a:r>
              <a:rPr lang="de-DE" sz="1600" dirty="0"/>
              <a:t>:</a:t>
            </a:r>
          </a:p>
          <a:p>
            <a:pPr lvl="1">
              <a:buFont typeface="Courier New" panose="02070309020205020404" pitchFamily="49" charset="0"/>
              <a:buChar char="o"/>
            </a:pPr>
            <a:r>
              <a:rPr lang="en-US" sz="1600" dirty="0"/>
              <a:t>457 hours with negative prices</a:t>
            </a:r>
          </a:p>
          <a:p>
            <a:pPr lvl="1">
              <a:buFont typeface="Courier New" panose="02070309020205020404" pitchFamily="49" charset="0"/>
              <a:buChar char="o"/>
            </a:pPr>
            <a:r>
              <a:rPr lang="en-US" sz="1600" dirty="0"/>
              <a:t>62 hours with prices equal to zero</a:t>
            </a:r>
          </a:p>
          <a:p>
            <a:pPr lvl="1">
              <a:buFont typeface="Courier New" panose="02070309020205020404" pitchFamily="49" charset="0"/>
              <a:buChar char="o"/>
            </a:pPr>
            <a:r>
              <a:rPr lang="en-US" sz="1600" dirty="0"/>
              <a:t>‘Distribution: 320 hours between “0” and “-10” EUR/MWh, 132 hours between “-10 “and “-100” EUR/MWh, 5 hours above “-100” EUR/MWh</a:t>
            </a:r>
          </a:p>
          <a:p>
            <a:r>
              <a:rPr lang="en-US" sz="1600" dirty="0"/>
              <a:t>‘Seasonality":</a:t>
            </a:r>
          </a:p>
          <a:p>
            <a:pPr lvl="1">
              <a:buFont typeface="Courier New" panose="02070309020205020404" pitchFamily="49" charset="0"/>
              <a:buChar char="o"/>
            </a:pPr>
            <a:r>
              <a:rPr lang="en-US" sz="1600" dirty="0"/>
              <a:t>343 of the hours occur between April and August</a:t>
            </a:r>
          </a:p>
          <a:p>
            <a:pPr lvl="1">
              <a:buFont typeface="Courier New" panose="02070309020205020404" pitchFamily="49" charset="0"/>
              <a:buChar char="o"/>
            </a:pPr>
            <a:r>
              <a:rPr lang="en-US" sz="1600" dirty="0"/>
              <a:t>Most of the hours occurring between 10 am - 2 pm</a:t>
            </a:r>
          </a:p>
          <a:p>
            <a:pPr lvl="1">
              <a:buFont typeface="Courier New" panose="02070309020205020404" pitchFamily="49" charset="0"/>
              <a:buChar char="o"/>
            </a:pPr>
            <a:r>
              <a:rPr lang="en-US" sz="1600" dirty="0"/>
              <a:t>Negative hours occur as ‘blocks’</a:t>
            </a:r>
          </a:p>
          <a:p>
            <a:r>
              <a:rPr lang="en-US" sz="1600" dirty="0"/>
              <a:t>Extreme events:</a:t>
            </a:r>
          </a:p>
          <a:p>
            <a:pPr lvl="1">
              <a:buFont typeface="Courier New" panose="02070309020205020404" pitchFamily="49" charset="0"/>
              <a:buChar char="o"/>
            </a:pPr>
            <a:r>
              <a:rPr lang="en-US" sz="1600" dirty="0"/>
              <a:t>‘-135.45": 12.05.24 at 11 am, in a block of 9 hours with negative prices, high solar generation &amp; low load</a:t>
            </a:r>
          </a:p>
          <a:p>
            <a:pPr lvl="1">
              <a:buFont typeface="Courier New" panose="02070309020205020404" pitchFamily="49" charset="0"/>
              <a:buChar char="o"/>
            </a:pPr>
            <a:r>
              <a:rPr lang="en-US" sz="1600" dirty="0"/>
              <a:t>‘-120.07": 01.05.2024 at 1 pm, in a block of 8 hours with negative prices</a:t>
            </a:r>
          </a:p>
          <a:p>
            <a:pPr lvl="1">
              <a:buFont typeface="Courier New" panose="02070309020205020404" pitchFamily="49" charset="0"/>
              <a:buChar char="o"/>
            </a:pPr>
            <a:r>
              <a:rPr lang="en-US" sz="1600" dirty="0"/>
              <a:t>‘-80.01": 15.06.24 at 12 noon, in a block of 10 hours with negative prices</a:t>
            </a:r>
            <a:endParaRPr lang="de-DE" sz="1600" dirty="0"/>
          </a:p>
        </p:txBody>
      </p:sp>
      <p:sp>
        <p:nvSpPr>
          <p:cNvPr id="5" name="Titel 4"/>
          <p:cNvSpPr>
            <a:spLocks noGrp="1"/>
          </p:cNvSpPr>
          <p:nvPr>
            <p:ph type="title" idx="4294967295"/>
          </p:nvPr>
        </p:nvSpPr>
        <p:spPr>
          <a:xfrm>
            <a:off x="835025" y="524556"/>
            <a:ext cx="10753725" cy="800100"/>
          </a:xfrm>
          <a:prstGeom prst="rect">
            <a:avLst/>
          </a:prstGeom>
        </p:spPr>
        <p:txBody>
          <a:bodyPr/>
          <a:lstStyle/>
          <a:p>
            <a:r>
              <a:rPr lang="en-US" sz="3600" dirty="0"/>
              <a:t>Zoom in 2024</a:t>
            </a:r>
            <a:endParaRPr lang="de-DE" sz="3600" dirty="0"/>
          </a:p>
        </p:txBody>
      </p:sp>
      <p:sp>
        <p:nvSpPr>
          <p:cNvPr id="6" name="Foliennummernplatzhalter 5">
            <a:extLst>
              <a:ext uri="{FF2B5EF4-FFF2-40B4-BE49-F238E27FC236}">
                <a16:creationId xmlns:a16="http://schemas.microsoft.com/office/drawing/2014/main" id="{29968520-D199-1E29-5395-F839A14C586B}"/>
              </a:ext>
            </a:extLst>
          </p:cNvPr>
          <p:cNvSpPr>
            <a:spLocks noGrp="1"/>
          </p:cNvSpPr>
          <p:nvPr>
            <p:ph type="sldNum" sz="quarter" idx="4294967295"/>
          </p:nvPr>
        </p:nvSpPr>
        <p:spPr>
          <a:xfrm>
            <a:off x="11588750" y="6356350"/>
            <a:ext cx="603250" cy="365125"/>
          </a:xfrm>
        </p:spPr>
        <p:txBody>
          <a:bodyPr/>
          <a:lstStyle/>
          <a:p>
            <a:pPr>
              <a:defRPr/>
            </a:pPr>
            <a:fld id="{B1C4D34D-6A6C-4A32-9364-46C43CFEB473}" type="slidenum">
              <a:rPr lang="de-DE" smtClean="0"/>
              <a:pPr>
                <a:defRPr/>
              </a:pPr>
              <a:t>5</a:t>
            </a:fld>
            <a:endParaRPr lang="de-DE" dirty="0"/>
          </a:p>
        </p:txBody>
      </p:sp>
      <p:graphicFrame>
        <p:nvGraphicFramePr>
          <p:cNvPr id="13" name="Bildplatzhalter 7">
            <a:extLst>
              <a:ext uri="{FF2B5EF4-FFF2-40B4-BE49-F238E27FC236}">
                <a16:creationId xmlns:a16="http://schemas.microsoft.com/office/drawing/2014/main" id="{8AC34BF8-5123-E2DE-851C-EE941B56827F}"/>
              </a:ext>
            </a:extLst>
          </p:cNvPr>
          <p:cNvGraphicFramePr>
            <a:graphicFrameLocks/>
          </p:cNvGraphicFramePr>
          <p:nvPr>
            <p:extLst>
              <p:ext uri="{D42A27DB-BD31-4B8C-83A1-F6EECF244321}">
                <p14:modId xmlns:p14="http://schemas.microsoft.com/office/powerpoint/2010/main" val="2800591985"/>
              </p:ext>
            </p:extLst>
          </p:nvPr>
        </p:nvGraphicFramePr>
        <p:xfrm>
          <a:off x="6371773" y="997505"/>
          <a:ext cx="5355770" cy="4663065"/>
        </p:xfrm>
        <a:graphic>
          <a:graphicData uri="http://schemas.openxmlformats.org/drawingml/2006/chart">
            <c:chart xmlns:c="http://schemas.openxmlformats.org/drawingml/2006/chart" xmlns:r="http://schemas.openxmlformats.org/officeDocument/2006/relationships" r:id="rId4"/>
          </a:graphicData>
        </a:graphic>
      </p:graphicFrame>
    </p:spTree>
    <p:custDataLst>
      <p:custData r:id="rId1"/>
    </p:custDataLst>
    <p:extLst>
      <p:ext uri="{BB962C8B-B14F-4D97-AF65-F5344CB8AC3E}">
        <p14:creationId xmlns:p14="http://schemas.microsoft.com/office/powerpoint/2010/main" val="39837777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04C7A36-0010-4E20-8AFC-D78C7D21B5F2}"/>
              </a:ext>
            </a:extLst>
          </p:cNvPr>
          <p:cNvSpPr>
            <a:spLocks noGrp="1"/>
          </p:cNvSpPr>
          <p:nvPr>
            <p:ph type="body" sz="quarter" idx="11"/>
          </p:nvPr>
        </p:nvSpPr>
        <p:spPr>
          <a:xfrm>
            <a:off x="791811" y="121730"/>
            <a:ext cx="9901061" cy="1239102"/>
          </a:xfrm>
        </p:spPr>
        <p:txBody>
          <a:bodyPr/>
          <a:lstStyle/>
          <a:p>
            <a:r>
              <a:rPr lang="de-DE" sz="3600" dirty="0">
                <a:latin typeface="+mj-lt"/>
              </a:rPr>
              <a:t>Price </a:t>
            </a:r>
            <a:r>
              <a:rPr lang="de-DE" sz="3600" dirty="0" err="1">
                <a:latin typeface="+mj-lt"/>
              </a:rPr>
              <a:t>development</a:t>
            </a:r>
            <a:r>
              <a:rPr lang="de-DE" sz="3600" dirty="0">
                <a:latin typeface="+mj-lt"/>
              </a:rPr>
              <a:t> - </a:t>
            </a:r>
            <a:r>
              <a:rPr lang="de-DE" sz="3600" dirty="0" err="1">
                <a:latin typeface="+mj-lt"/>
              </a:rPr>
              <a:t>another</a:t>
            </a:r>
            <a:r>
              <a:rPr lang="de-DE" sz="3600" dirty="0">
                <a:latin typeface="+mj-lt"/>
              </a:rPr>
              <a:t> </a:t>
            </a:r>
            <a:r>
              <a:rPr lang="de-DE" sz="3600" dirty="0" err="1">
                <a:latin typeface="+mj-lt"/>
              </a:rPr>
              <a:t>perspective</a:t>
            </a:r>
            <a:endParaRPr lang="de-DE" sz="3600" dirty="0">
              <a:latin typeface="+mj-lt"/>
            </a:endParaRPr>
          </a:p>
        </p:txBody>
      </p:sp>
      <p:sp>
        <p:nvSpPr>
          <p:cNvPr id="3" name="Textplatzhalter 2">
            <a:extLst>
              <a:ext uri="{FF2B5EF4-FFF2-40B4-BE49-F238E27FC236}">
                <a16:creationId xmlns:a16="http://schemas.microsoft.com/office/drawing/2014/main" id="{BE5B7D8C-5679-48BA-B0D5-9689CACE8954}"/>
              </a:ext>
            </a:extLst>
          </p:cNvPr>
          <p:cNvSpPr>
            <a:spLocks noGrp="1"/>
          </p:cNvSpPr>
          <p:nvPr>
            <p:ph type="body" sz="quarter" idx="12"/>
          </p:nvPr>
        </p:nvSpPr>
        <p:spPr/>
        <p:txBody>
          <a:bodyPr/>
          <a:lstStyle/>
          <a:p>
            <a:r>
              <a:rPr lang="de-DE" dirty="0"/>
              <a:t>Extreme </a:t>
            </a:r>
            <a:r>
              <a:rPr lang="de-DE" dirty="0" err="1"/>
              <a:t>price</a:t>
            </a:r>
            <a:endParaRPr lang="de-DE" dirty="0"/>
          </a:p>
        </p:txBody>
      </p:sp>
      <p:pic>
        <p:nvPicPr>
          <p:cNvPr id="6" name="Inhaltsplatzhalter 5" descr="Ein Bild, das Text, Reihe, Diagramm, Schrift enthält.&#10;&#10;Automatisch generierte Beschreibung">
            <a:extLst>
              <a:ext uri="{FF2B5EF4-FFF2-40B4-BE49-F238E27FC236}">
                <a16:creationId xmlns:a16="http://schemas.microsoft.com/office/drawing/2014/main" id="{44CD6B03-6CCA-AF09-F06E-0960B1C2C41C}"/>
              </a:ext>
            </a:extLst>
          </p:cNvPr>
          <p:cNvPicPr>
            <a:picLocks noGrp="1" noChangeAspect="1"/>
          </p:cNvPicPr>
          <p:nvPr>
            <p:ph sz="quarter" idx="13"/>
          </p:nvPr>
        </p:nvPicPr>
        <p:blipFill>
          <a:blip r:embed="rId3"/>
          <a:stretch>
            <a:fillRect/>
          </a:stretch>
        </p:blipFill>
        <p:spPr>
          <a:xfrm>
            <a:off x="959978" y="2157730"/>
            <a:ext cx="6828896" cy="4097338"/>
          </a:xfrm>
        </p:spPr>
      </p:pic>
      <p:sp>
        <p:nvSpPr>
          <p:cNvPr id="7" name="Textfeld 6">
            <a:extLst>
              <a:ext uri="{FF2B5EF4-FFF2-40B4-BE49-F238E27FC236}">
                <a16:creationId xmlns:a16="http://schemas.microsoft.com/office/drawing/2014/main" id="{D89BAC73-55D8-DD75-A68E-D4B80F5C11C5}"/>
              </a:ext>
            </a:extLst>
          </p:cNvPr>
          <p:cNvSpPr txBox="1"/>
          <p:nvPr/>
        </p:nvSpPr>
        <p:spPr>
          <a:xfrm>
            <a:off x="7985760" y="2493632"/>
            <a:ext cx="3058160" cy="2585323"/>
          </a:xfrm>
          <a:prstGeom prst="rect">
            <a:avLst/>
          </a:prstGeom>
          <a:noFill/>
        </p:spPr>
        <p:txBody>
          <a:bodyPr wrap="square" rtlCol="0">
            <a:spAutoFit/>
          </a:bodyPr>
          <a:lstStyle/>
          <a:p>
            <a:pPr marL="285750" indent="-285750">
              <a:buFont typeface="Arial" panose="020B0604020202020204" pitchFamily="34" charset="0"/>
              <a:buChar char="•"/>
            </a:pPr>
            <a:r>
              <a:rPr lang="de-DE" dirty="0"/>
              <a:t>Spot </a:t>
            </a:r>
            <a:r>
              <a:rPr lang="de-DE" dirty="0" err="1"/>
              <a:t>market</a:t>
            </a:r>
            <a:r>
              <a:rPr lang="de-DE" dirty="0"/>
              <a:t> </a:t>
            </a:r>
            <a:r>
              <a:rPr lang="de-DE" dirty="0" err="1"/>
              <a:t>prices</a:t>
            </a:r>
            <a:r>
              <a:rPr lang="de-DE" dirty="0"/>
              <a:t> </a:t>
            </a:r>
            <a:r>
              <a:rPr lang="de-DE" dirty="0" err="1"/>
              <a:t>for</a:t>
            </a:r>
            <a:r>
              <a:rPr lang="de-DE" dirty="0"/>
              <a:t> </a:t>
            </a:r>
            <a:r>
              <a:rPr lang="de-DE" dirty="0" err="1"/>
              <a:t>selected</a:t>
            </a:r>
            <a:r>
              <a:rPr lang="de-DE" dirty="0"/>
              <a:t> </a:t>
            </a:r>
            <a:r>
              <a:rPr lang="de-DE" dirty="0" err="1"/>
              <a:t>hours</a:t>
            </a:r>
            <a:r>
              <a:rPr lang="de-DE" dirty="0"/>
              <a:t> </a:t>
            </a:r>
            <a:r>
              <a:rPr lang="de-DE" dirty="0" err="1"/>
              <a:t>of</a:t>
            </a:r>
            <a:r>
              <a:rPr lang="de-DE" dirty="0"/>
              <a:t> </a:t>
            </a:r>
            <a:r>
              <a:rPr lang="de-DE" dirty="0" err="1"/>
              <a:t>the</a:t>
            </a:r>
            <a:r>
              <a:rPr lang="de-DE" dirty="0"/>
              <a:t> </a:t>
            </a:r>
            <a:r>
              <a:rPr lang="de-DE" dirty="0" err="1"/>
              <a:t>day</a:t>
            </a:r>
            <a:endParaRPr lang="de-DE" dirty="0"/>
          </a:p>
          <a:p>
            <a:pPr marL="285750" indent="-285750">
              <a:buFont typeface="Arial" panose="020B0604020202020204" pitchFamily="34" charset="0"/>
              <a:buChar char="•"/>
            </a:pPr>
            <a:r>
              <a:rPr lang="de-DE" dirty="0" err="1"/>
              <a:t>For</a:t>
            </a:r>
            <a:r>
              <a:rPr lang="de-DE" dirty="0"/>
              <a:t> 2024</a:t>
            </a:r>
          </a:p>
          <a:p>
            <a:pPr marL="285750" indent="-285750">
              <a:buFont typeface="Arial" panose="020B0604020202020204" pitchFamily="34" charset="0"/>
              <a:buChar char="•"/>
            </a:pPr>
            <a:r>
              <a:rPr lang="de-DE" dirty="0"/>
              <a:t>Simple Moving Average </a:t>
            </a:r>
          </a:p>
          <a:p>
            <a:endParaRPr lang="de-DE" dirty="0"/>
          </a:p>
          <a:p>
            <a:endParaRPr lang="de-DE" dirty="0"/>
          </a:p>
          <a:p>
            <a:endParaRPr lang="de-DE" dirty="0"/>
          </a:p>
          <a:p>
            <a:r>
              <a:rPr lang="de-DE" dirty="0"/>
              <a:t>Spread </a:t>
            </a:r>
            <a:r>
              <a:rPr lang="de-DE" dirty="0" err="1"/>
              <a:t>between</a:t>
            </a:r>
            <a:r>
              <a:rPr lang="de-DE" dirty="0"/>
              <a:t> PV-peak and </a:t>
            </a:r>
            <a:r>
              <a:rPr lang="de-DE" dirty="0" err="1"/>
              <a:t>load</a:t>
            </a:r>
            <a:r>
              <a:rPr lang="de-DE" dirty="0"/>
              <a:t>-peak </a:t>
            </a:r>
            <a:r>
              <a:rPr lang="de-DE" dirty="0" err="1"/>
              <a:t>grows</a:t>
            </a:r>
            <a:endParaRPr lang="de-DE" dirty="0"/>
          </a:p>
        </p:txBody>
      </p:sp>
      <p:sp>
        <p:nvSpPr>
          <p:cNvPr id="8" name="Gleichschenkliges Dreieck 7">
            <a:extLst>
              <a:ext uri="{FF2B5EF4-FFF2-40B4-BE49-F238E27FC236}">
                <a16:creationId xmlns:a16="http://schemas.microsoft.com/office/drawing/2014/main" id="{E4F343C0-C4A5-483A-86A4-871B7C887E08}"/>
              </a:ext>
            </a:extLst>
          </p:cNvPr>
          <p:cNvSpPr/>
          <p:nvPr/>
        </p:nvSpPr>
        <p:spPr>
          <a:xfrm rot="10800000">
            <a:off x="8417560" y="3923935"/>
            <a:ext cx="2194560" cy="42164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4270279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platzhalter 5">
            <a:extLst>
              <a:ext uri="{FF2B5EF4-FFF2-40B4-BE49-F238E27FC236}">
                <a16:creationId xmlns:a16="http://schemas.microsoft.com/office/drawing/2014/main" id="{1BC1F2ED-DB7F-623B-8BED-C876E625A752}"/>
              </a:ext>
            </a:extLst>
          </p:cNvPr>
          <p:cNvSpPr>
            <a:spLocks noGrp="1"/>
          </p:cNvSpPr>
          <p:nvPr>
            <p:ph type="body" sz="quarter" idx="11"/>
          </p:nvPr>
        </p:nvSpPr>
        <p:spPr>
          <a:xfrm>
            <a:off x="6096000" y="1773515"/>
            <a:ext cx="6164262" cy="360001"/>
          </a:xfrm>
        </p:spPr>
        <p:txBody>
          <a:bodyPr/>
          <a:lstStyle/>
          <a:p>
            <a:r>
              <a:rPr lang="en-US" sz="2000" dirty="0">
                <a:solidFill>
                  <a:schemeClr val="tx1"/>
                </a:solidFill>
              </a:rPr>
              <a:t>Wind generation and number of negative prices</a:t>
            </a:r>
            <a:endParaRPr lang="de-DE" sz="2000" dirty="0">
              <a:solidFill>
                <a:schemeClr val="tx1"/>
              </a:solidFill>
            </a:endParaRPr>
          </a:p>
        </p:txBody>
      </p:sp>
      <p:sp>
        <p:nvSpPr>
          <p:cNvPr id="10" name="Textplatzhalter 9">
            <a:extLst>
              <a:ext uri="{FF2B5EF4-FFF2-40B4-BE49-F238E27FC236}">
                <a16:creationId xmlns:a16="http://schemas.microsoft.com/office/drawing/2014/main" id="{BC1E18B5-6797-0815-60E1-36D3EBB1C080}"/>
              </a:ext>
            </a:extLst>
          </p:cNvPr>
          <p:cNvSpPr>
            <a:spLocks noGrp="1"/>
          </p:cNvSpPr>
          <p:nvPr>
            <p:ph type="body" sz="quarter" idx="12"/>
          </p:nvPr>
        </p:nvSpPr>
        <p:spPr>
          <a:xfrm>
            <a:off x="9690093" y="6360712"/>
            <a:ext cx="2176788" cy="173591"/>
          </a:xfrm>
        </p:spPr>
        <p:txBody>
          <a:bodyPr/>
          <a:lstStyle/>
          <a:p>
            <a:r>
              <a:rPr lang="de-DE" dirty="0"/>
              <a:t>Source: Energy Charts, EPEX Spot</a:t>
            </a:r>
          </a:p>
        </p:txBody>
      </p:sp>
      <p:graphicFrame>
        <p:nvGraphicFramePr>
          <p:cNvPr id="17" name="Inhaltsplatzhalter 10">
            <a:extLst>
              <a:ext uri="{FF2B5EF4-FFF2-40B4-BE49-F238E27FC236}">
                <a16:creationId xmlns:a16="http://schemas.microsoft.com/office/drawing/2014/main" id="{2C32789F-C47B-BCF8-CDC3-564CC84B0465}"/>
              </a:ext>
            </a:extLst>
          </p:cNvPr>
          <p:cNvGraphicFramePr>
            <a:graphicFrameLocks noGrp="1"/>
          </p:cNvGraphicFramePr>
          <p:nvPr>
            <p:ph sz="quarter" idx="13"/>
            <p:extLst>
              <p:ext uri="{D42A27DB-BD31-4B8C-83A1-F6EECF244321}">
                <p14:modId xmlns:p14="http://schemas.microsoft.com/office/powerpoint/2010/main" val="3442301515"/>
              </p:ext>
            </p:extLst>
          </p:nvPr>
        </p:nvGraphicFramePr>
        <p:xfrm>
          <a:off x="960439" y="2178050"/>
          <a:ext cx="5372984" cy="4097338"/>
        </p:xfrm>
        <a:graphic>
          <a:graphicData uri="http://schemas.openxmlformats.org/drawingml/2006/chart">
            <c:chart xmlns:c="http://schemas.openxmlformats.org/drawingml/2006/chart" xmlns:r="http://schemas.openxmlformats.org/officeDocument/2006/relationships" r:id="rId4"/>
          </a:graphicData>
        </a:graphic>
      </p:graphicFrame>
      <p:sp>
        <p:nvSpPr>
          <p:cNvPr id="5" name="Titel 4"/>
          <p:cNvSpPr>
            <a:spLocks noGrp="1"/>
          </p:cNvSpPr>
          <p:nvPr>
            <p:ph type="title" idx="4294967295"/>
          </p:nvPr>
        </p:nvSpPr>
        <p:spPr>
          <a:xfrm>
            <a:off x="719153" y="675507"/>
            <a:ext cx="10753725" cy="800100"/>
          </a:xfrm>
          <a:prstGeom prst="rect">
            <a:avLst/>
          </a:prstGeom>
        </p:spPr>
        <p:txBody>
          <a:bodyPr/>
          <a:lstStyle/>
          <a:p>
            <a:r>
              <a:rPr lang="en-US" sz="3600" dirty="0"/>
              <a:t>Influence of „negative“ prices on PV and Wind revenues in Germany for 2024</a:t>
            </a:r>
            <a:endParaRPr lang="de-DE" sz="3600" dirty="0"/>
          </a:p>
        </p:txBody>
      </p:sp>
      <p:graphicFrame>
        <p:nvGraphicFramePr>
          <p:cNvPr id="18" name="Inhaltsplatzhalter 11">
            <a:extLst>
              <a:ext uri="{FF2B5EF4-FFF2-40B4-BE49-F238E27FC236}">
                <a16:creationId xmlns:a16="http://schemas.microsoft.com/office/drawing/2014/main" id="{8A6C3DA4-8E11-02D0-299F-8B8CD3DAAFB3}"/>
              </a:ext>
            </a:extLst>
          </p:cNvPr>
          <p:cNvGraphicFramePr>
            <a:graphicFrameLocks noGrp="1"/>
          </p:cNvGraphicFramePr>
          <p:nvPr>
            <p:ph sz="quarter" idx="4294967295"/>
            <p:extLst>
              <p:ext uri="{D42A27DB-BD31-4B8C-83A1-F6EECF244321}">
                <p14:modId xmlns:p14="http://schemas.microsoft.com/office/powerpoint/2010/main" val="1402734105"/>
              </p:ext>
            </p:extLst>
          </p:nvPr>
        </p:nvGraphicFramePr>
        <p:xfrm>
          <a:off x="6221978" y="2178050"/>
          <a:ext cx="5502442" cy="4130675"/>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platzhalter 3">
            <a:extLst>
              <a:ext uri="{FF2B5EF4-FFF2-40B4-BE49-F238E27FC236}">
                <a16:creationId xmlns:a16="http://schemas.microsoft.com/office/drawing/2014/main" id="{9F0EFE69-F64C-79DA-AF2B-17D0CC37F8B0}"/>
              </a:ext>
            </a:extLst>
          </p:cNvPr>
          <p:cNvSpPr txBox="1">
            <a:spLocks/>
          </p:cNvSpPr>
          <p:nvPr/>
        </p:nvSpPr>
        <p:spPr>
          <a:xfrm>
            <a:off x="719153" y="1773516"/>
            <a:ext cx="5281351"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lgn="l" defTabSz="914400" rtl="0" eaLnBrk="1" latinLnBrk="0" hangingPunct="1">
              <a:lnSpc>
                <a:spcPct val="90000"/>
              </a:lnSpc>
              <a:spcBef>
                <a:spcPts val="1000"/>
              </a:spcBef>
              <a:buFont typeface="Arial" panose="020B0604020202020204" pitchFamily="34" charset="0"/>
              <a:buNone/>
              <a:defRPr lang="de-DE" sz="2800" kern="1200" dirty="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solidFill>
                  <a:schemeClr val="tx1"/>
                </a:solidFill>
              </a:rPr>
              <a:t>PV generation and number of negative prices</a:t>
            </a:r>
          </a:p>
        </p:txBody>
      </p:sp>
      <p:sp>
        <p:nvSpPr>
          <p:cNvPr id="7" name="Textplatzhalter 2">
            <a:extLst>
              <a:ext uri="{FF2B5EF4-FFF2-40B4-BE49-F238E27FC236}">
                <a16:creationId xmlns:a16="http://schemas.microsoft.com/office/drawing/2014/main" id="{8D96D9B3-85C8-D0B7-771A-D69771E57BC2}"/>
              </a:ext>
            </a:extLst>
          </p:cNvPr>
          <p:cNvSpPr txBox="1">
            <a:spLocks/>
          </p:cNvSpPr>
          <p:nvPr/>
        </p:nvSpPr>
        <p:spPr>
          <a:xfrm>
            <a:off x="959978" y="172880"/>
            <a:ext cx="6164263" cy="204720"/>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1000" kern="1200">
                <a:solidFill>
                  <a:srgbClr val="022E33"/>
                </a:solidFill>
                <a:latin typeface="Haffer" pitchFamily="2" charset="77"/>
                <a:ea typeface="+mn-ea"/>
                <a:cs typeface="Haffer"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Impact on </a:t>
            </a:r>
            <a:r>
              <a:rPr lang="de-DE" dirty="0" err="1"/>
              <a:t>revenue</a:t>
            </a:r>
            <a:endParaRPr lang="de-DE" dirty="0"/>
          </a:p>
        </p:txBody>
      </p:sp>
    </p:spTree>
    <p:custDataLst>
      <p:custData r:id="rId1"/>
    </p:custDataLst>
    <p:extLst>
      <p:ext uri="{BB962C8B-B14F-4D97-AF65-F5344CB8AC3E}">
        <p14:creationId xmlns:p14="http://schemas.microsoft.com/office/powerpoint/2010/main" val="22058082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platzhalter 5">
            <a:extLst>
              <a:ext uri="{FF2B5EF4-FFF2-40B4-BE49-F238E27FC236}">
                <a16:creationId xmlns:a16="http://schemas.microsoft.com/office/drawing/2014/main" id="{1BC1F2ED-DB7F-623B-8BED-C876E625A752}"/>
              </a:ext>
            </a:extLst>
          </p:cNvPr>
          <p:cNvSpPr>
            <a:spLocks noGrp="1"/>
          </p:cNvSpPr>
          <p:nvPr>
            <p:ph type="body" sz="quarter" idx="11"/>
          </p:nvPr>
        </p:nvSpPr>
        <p:spPr>
          <a:xfrm>
            <a:off x="6533058" y="1773516"/>
            <a:ext cx="6164262" cy="360000"/>
          </a:xfrm>
        </p:spPr>
        <p:txBody>
          <a:bodyPr/>
          <a:lstStyle/>
          <a:p>
            <a:r>
              <a:rPr lang="en-US" sz="2000" dirty="0">
                <a:solidFill>
                  <a:schemeClr val="tx1"/>
                </a:solidFill>
              </a:rPr>
              <a:t>Historical Onshore Wind Profile Value (BPR)</a:t>
            </a:r>
            <a:endParaRPr lang="de-DE" sz="2000" dirty="0">
              <a:solidFill>
                <a:schemeClr val="tx1"/>
              </a:solidFill>
            </a:endParaRPr>
          </a:p>
        </p:txBody>
      </p:sp>
      <p:sp>
        <p:nvSpPr>
          <p:cNvPr id="10" name="Textplatzhalter 9">
            <a:extLst>
              <a:ext uri="{FF2B5EF4-FFF2-40B4-BE49-F238E27FC236}">
                <a16:creationId xmlns:a16="http://schemas.microsoft.com/office/drawing/2014/main" id="{BC1E18B5-6797-0815-60E1-36D3EBB1C080}"/>
              </a:ext>
            </a:extLst>
          </p:cNvPr>
          <p:cNvSpPr>
            <a:spLocks noGrp="1"/>
          </p:cNvSpPr>
          <p:nvPr>
            <p:ph type="body" sz="quarter" idx="12"/>
          </p:nvPr>
        </p:nvSpPr>
        <p:spPr>
          <a:xfrm>
            <a:off x="9459085" y="6275388"/>
            <a:ext cx="2428115" cy="238004"/>
          </a:xfrm>
        </p:spPr>
        <p:txBody>
          <a:bodyPr/>
          <a:lstStyle/>
          <a:p>
            <a:r>
              <a:rPr lang="de-DE" dirty="0"/>
              <a:t>Source: ENTSO-E, Eurostat,, EPEX Spot</a:t>
            </a:r>
          </a:p>
        </p:txBody>
      </p:sp>
      <p:graphicFrame>
        <p:nvGraphicFramePr>
          <p:cNvPr id="12" name="Inhaltsplatzhalter 11">
            <a:extLst>
              <a:ext uri="{FF2B5EF4-FFF2-40B4-BE49-F238E27FC236}">
                <a16:creationId xmlns:a16="http://schemas.microsoft.com/office/drawing/2014/main" id="{4C09498E-52BE-CA9A-C6BF-6B50BC67FEA2}"/>
              </a:ext>
            </a:extLst>
          </p:cNvPr>
          <p:cNvGraphicFramePr>
            <a:graphicFrameLocks noGrp="1"/>
          </p:cNvGraphicFramePr>
          <p:nvPr>
            <p:ph sz="quarter" idx="13"/>
            <p:extLst>
              <p:ext uri="{D42A27DB-BD31-4B8C-83A1-F6EECF244321}">
                <p14:modId xmlns:p14="http://schemas.microsoft.com/office/powerpoint/2010/main" val="105242834"/>
              </p:ext>
            </p:extLst>
          </p:nvPr>
        </p:nvGraphicFramePr>
        <p:xfrm>
          <a:off x="960438" y="2178050"/>
          <a:ext cx="5281351" cy="4097338"/>
        </p:xfrm>
        <a:graphic>
          <a:graphicData uri="http://schemas.openxmlformats.org/drawingml/2006/chart">
            <c:chart xmlns:c="http://schemas.openxmlformats.org/drawingml/2006/chart" xmlns:r="http://schemas.openxmlformats.org/officeDocument/2006/relationships" r:id="rId4"/>
          </a:graphicData>
        </a:graphic>
      </p:graphicFrame>
      <p:sp>
        <p:nvSpPr>
          <p:cNvPr id="5" name="Titel 4"/>
          <p:cNvSpPr>
            <a:spLocks noGrp="1"/>
          </p:cNvSpPr>
          <p:nvPr>
            <p:ph type="title" idx="4294967295"/>
          </p:nvPr>
        </p:nvSpPr>
        <p:spPr>
          <a:xfrm>
            <a:off x="701670" y="679723"/>
            <a:ext cx="10753725" cy="800100"/>
          </a:xfrm>
          <a:prstGeom prst="rect">
            <a:avLst/>
          </a:prstGeom>
        </p:spPr>
        <p:txBody>
          <a:bodyPr/>
          <a:lstStyle/>
          <a:p>
            <a:r>
              <a:rPr lang="en-US" sz="3600" dirty="0"/>
              <a:t>Influence of „negative“ prices on PV and Wind revenues in Germany for 2024</a:t>
            </a:r>
            <a:endParaRPr lang="de-DE" sz="3600" dirty="0"/>
          </a:p>
        </p:txBody>
      </p:sp>
      <p:graphicFrame>
        <p:nvGraphicFramePr>
          <p:cNvPr id="13" name="Inhaltsplatzhalter 12">
            <a:extLst>
              <a:ext uri="{FF2B5EF4-FFF2-40B4-BE49-F238E27FC236}">
                <a16:creationId xmlns:a16="http://schemas.microsoft.com/office/drawing/2014/main" id="{B799B915-D89B-4E09-879F-462633849068}"/>
              </a:ext>
            </a:extLst>
          </p:cNvPr>
          <p:cNvGraphicFramePr>
            <a:graphicFrameLocks noGrp="1"/>
          </p:cNvGraphicFramePr>
          <p:nvPr>
            <p:ph sz="quarter" idx="4294967295"/>
            <p:extLst>
              <p:ext uri="{D42A27DB-BD31-4B8C-83A1-F6EECF244321}">
                <p14:modId xmlns:p14="http://schemas.microsoft.com/office/powerpoint/2010/main" val="3092146092"/>
              </p:ext>
            </p:extLst>
          </p:nvPr>
        </p:nvGraphicFramePr>
        <p:xfrm>
          <a:off x="6533058" y="2282825"/>
          <a:ext cx="5281351" cy="3887788"/>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platzhalter 3">
            <a:extLst>
              <a:ext uri="{FF2B5EF4-FFF2-40B4-BE49-F238E27FC236}">
                <a16:creationId xmlns:a16="http://schemas.microsoft.com/office/drawing/2014/main" id="{9F0EFE69-F64C-79DA-AF2B-17D0CC37F8B0}"/>
              </a:ext>
            </a:extLst>
          </p:cNvPr>
          <p:cNvSpPr txBox="1">
            <a:spLocks/>
          </p:cNvSpPr>
          <p:nvPr/>
        </p:nvSpPr>
        <p:spPr>
          <a:xfrm>
            <a:off x="719153" y="1773516"/>
            <a:ext cx="5281351"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5720" rIns="91440" bIns="45720" anchor="ctr"/>
          <a:lstStyle>
            <a:lvl1pPr marL="285750" indent="-285750" algn="l" defTabSz="914400" rtl="0" eaLnBrk="1" latinLnBrk="0" hangingPunct="1">
              <a:lnSpc>
                <a:spcPct val="90000"/>
              </a:lnSpc>
              <a:spcBef>
                <a:spcPts val="1000"/>
              </a:spcBef>
              <a:buFont typeface="Arial" panose="020B0604020202020204" pitchFamily="34" charset="0"/>
              <a:buNone/>
              <a:defRPr lang="de-DE" sz="2800" kern="1200" dirty="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a:solidFill>
                  <a:schemeClr val="tx1"/>
                </a:solidFill>
              </a:rPr>
              <a:t>Historical PV Profile Value (BPR)</a:t>
            </a:r>
          </a:p>
        </p:txBody>
      </p:sp>
      <p:sp>
        <p:nvSpPr>
          <p:cNvPr id="7" name="Textplatzhalter 2">
            <a:extLst>
              <a:ext uri="{FF2B5EF4-FFF2-40B4-BE49-F238E27FC236}">
                <a16:creationId xmlns:a16="http://schemas.microsoft.com/office/drawing/2014/main" id="{91C64DE1-B9A1-9D66-5235-2A2434BEAACC}"/>
              </a:ext>
            </a:extLst>
          </p:cNvPr>
          <p:cNvSpPr txBox="1">
            <a:spLocks/>
          </p:cNvSpPr>
          <p:nvPr/>
        </p:nvSpPr>
        <p:spPr>
          <a:xfrm>
            <a:off x="959978" y="172880"/>
            <a:ext cx="6164263" cy="204720"/>
          </a:xfrm>
          <a:prstGeom prst="rect">
            <a:avLst/>
          </a:prstGeom>
        </p:spPr>
        <p:txBody>
          <a:bodyPr anchor="b"/>
          <a:lstStyle>
            <a:lvl1pPr marL="0" indent="0" algn="l" defTabSz="914400" rtl="0" eaLnBrk="1" latinLnBrk="0" hangingPunct="1">
              <a:lnSpc>
                <a:spcPct val="90000"/>
              </a:lnSpc>
              <a:spcBef>
                <a:spcPts val="1000"/>
              </a:spcBef>
              <a:buFont typeface="Arial" panose="020B0604020202020204" pitchFamily="34" charset="0"/>
              <a:buNone/>
              <a:defRPr sz="1000" kern="1200">
                <a:solidFill>
                  <a:srgbClr val="022E33"/>
                </a:solidFill>
                <a:latin typeface="Haffer" pitchFamily="2" charset="77"/>
                <a:ea typeface="+mn-ea"/>
                <a:cs typeface="Haffer" pitchFamily="2" charset="77"/>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dirty="0"/>
              <a:t>Impact on </a:t>
            </a:r>
            <a:r>
              <a:rPr lang="de-DE" dirty="0" err="1"/>
              <a:t>revenue</a:t>
            </a:r>
            <a:endParaRPr lang="de-DE" dirty="0"/>
          </a:p>
        </p:txBody>
      </p:sp>
    </p:spTree>
    <p:custDataLst>
      <p:custData r:id="rId1"/>
    </p:custDataLst>
    <p:extLst>
      <p:ext uri="{BB962C8B-B14F-4D97-AF65-F5344CB8AC3E}">
        <p14:creationId xmlns:p14="http://schemas.microsoft.com/office/powerpoint/2010/main" val="1787178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hteck 63">
            <a:extLst>
              <a:ext uri="{FF2B5EF4-FFF2-40B4-BE49-F238E27FC236}">
                <a16:creationId xmlns:a16="http://schemas.microsoft.com/office/drawing/2014/main" id="{7729A7EC-9AFF-96EB-B54E-C944117FF997}"/>
              </a:ext>
            </a:extLst>
          </p:cNvPr>
          <p:cNvSpPr/>
          <p:nvPr/>
        </p:nvSpPr>
        <p:spPr>
          <a:xfrm>
            <a:off x="1968964" y="2169841"/>
            <a:ext cx="8489903" cy="421817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endParaRPr lang="de-DE" dirty="0"/>
          </a:p>
        </p:txBody>
      </p:sp>
      <p:sp>
        <p:nvSpPr>
          <p:cNvPr id="12" name="Textplatzhalter 11">
            <a:extLst>
              <a:ext uri="{FF2B5EF4-FFF2-40B4-BE49-F238E27FC236}">
                <a16:creationId xmlns:a16="http://schemas.microsoft.com/office/drawing/2014/main" id="{643C024E-B4F0-9A8B-B12D-E1E982A26C80}"/>
              </a:ext>
            </a:extLst>
          </p:cNvPr>
          <p:cNvSpPr>
            <a:spLocks noGrp="1"/>
          </p:cNvSpPr>
          <p:nvPr>
            <p:ph type="body" sz="quarter" idx="11"/>
          </p:nvPr>
        </p:nvSpPr>
        <p:spPr/>
        <p:txBody>
          <a:bodyPr/>
          <a:lstStyle/>
          <a:p>
            <a:r>
              <a:rPr lang="de-DE" sz="3600" dirty="0">
                <a:latin typeface="+mj-lt"/>
              </a:rPr>
              <a:t>Flexibility options</a:t>
            </a:r>
          </a:p>
        </p:txBody>
      </p:sp>
      <p:sp>
        <p:nvSpPr>
          <p:cNvPr id="13" name="Textplatzhalter 12">
            <a:extLst>
              <a:ext uri="{FF2B5EF4-FFF2-40B4-BE49-F238E27FC236}">
                <a16:creationId xmlns:a16="http://schemas.microsoft.com/office/drawing/2014/main" id="{DCEB4EA6-8AB5-2519-4D4C-5BE124B5FFC4}"/>
              </a:ext>
            </a:extLst>
          </p:cNvPr>
          <p:cNvSpPr>
            <a:spLocks noGrp="1"/>
          </p:cNvSpPr>
          <p:nvPr>
            <p:ph type="body" sz="quarter" idx="12"/>
          </p:nvPr>
        </p:nvSpPr>
        <p:spPr/>
        <p:txBody>
          <a:bodyPr/>
          <a:lstStyle/>
          <a:p>
            <a:r>
              <a:rPr lang="de-DE" dirty="0" err="1"/>
              <a:t>Flexibility</a:t>
            </a:r>
            <a:endParaRPr lang="de-DE" dirty="0"/>
          </a:p>
        </p:txBody>
      </p:sp>
      <p:sp>
        <p:nvSpPr>
          <p:cNvPr id="21" name="Rechteck 20">
            <a:extLst>
              <a:ext uri="{FF2B5EF4-FFF2-40B4-BE49-F238E27FC236}">
                <a16:creationId xmlns:a16="http://schemas.microsoft.com/office/drawing/2014/main" id="{F46CF6F9-310B-3D86-1271-6D9F667B2DDC}"/>
              </a:ext>
            </a:extLst>
          </p:cNvPr>
          <p:cNvSpPr/>
          <p:nvPr/>
        </p:nvSpPr>
        <p:spPr>
          <a:xfrm>
            <a:off x="5097943" y="3817244"/>
            <a:ext cx="1499420" cy="819467"/>
          </a:xfrm>
          <a:prstGeom prst="rect">
            <a:avLst/>
          </a:pr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3023" tIns="73023" rIns="73023" bIns="73023" numCol="1" spcCol="1270" anchor="ctr" anchorCtr="0">
            <a:noAutofit/>
          </a:bodyPr>
          <a:lstStyle/>
          <a:p>
            <a:pPr marL="0" lvl="0" indent="0" algn="ctr" defTabSz="577850">
              <a:lnSpc>
                <a:spcPct val="90000"/>
              </a:lnSpc>
              <a:spcBef>
                <a:spcPct val="0"/>
              </a:spcBef>
              <a:spcAft>
                <a:spcPct val="35000"/>
              </a:spcAft>
              <a:buNone/>
            </a:pPr>
            <a:r>
              <a:rPr lang="de-DE" sz="1600" kern="1200" dirty="0"/>
              <a:t>Flexibility options</a:t>
            </a:r>
          </a:p>
        </p:txBody>
      </p:sp>
      <p:sp>
        <p:nvSpPr>
          <p:cNvPr id="22" name="Rechteck 21">
            <a:extLst>
              <a:ext uri="{FF2B5EF4-FFF2-40B4-BE49-F238E27FC236}">
                <a16:creationId xmlns:a16="http://schemas.microsoft.com/office/drawing/2014/main" id="{FC1B64F9-124D-4A68-E835-DCC1571F0434}"/>
              </a:ext>
            </a:extLst>
          </p:cNvPr>
          <p:cNvSpPr/>
          <p:nvPr/>
        </p:nvSpPr>
        <p:spPr>
          <a:xfrm>
            <a:off x="5285997" y="3046703"/>
            <a:ext cx="1123312" cy="549043"/>
          </a:xfrm>
          <a:prstGeom prst="rect">
            <a:avLst/>
          </a:prstGeom>
          <a:solidFill>
            <a:schemeClr val="accent3">
              <a:lumMod val="50000"/>
              <a:lumOff val="50000"/>
            </a:schemeClr>
          </a:solidFill>
          <a:ln>
            <a:noFill/>
          </a:ln>
        </p:spPr>
        <p:style>
          <a:lnRef idx="2">
            <a:schemeClr val="lt1">
              <a:hueOff val="0"/>
              <a:satOff val="0"/>
              <a:lumOff val="0"/>
              <a:alphaOff val="0"/>
            </a:schemeClr>
          </a:lnRef>
          <a:fillRef idx="1">
            <a:schemeClr val="accent4">
              <a:hueOff val="-70833"/>
              <a:satOff val="4369"/>
              <a:lumOff val="-4288"/>
              <a:alphaOff val="0"/>
            </a:schemeClr>
          </a:fillRef>
          <a:effectRef idx="0">
            <a:schemeClr val="accent4">
              <a:hueOff val="-70833"/>
              <a:satOff val="4369"/>
              <a:lumOff val="-4288"/>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a:t>Dispatchable generation</a:t>
            </a:r>
          </a:p>
        </p:txBody>
      </p:sp>
      <p:sp>
        <p:nvSpPr>
          <p:cNvPr id="24" name="Rechteck 23">
            <a:extLst>
              <a:ext uri="{FF2B5EF4-FFF2-40B4-BE49-F238E27FC236}">
                <a16:creationId xmlns:a16="http://schemas.microsoft.com/office/drawing/2014/main" id="{2D896D9C-B5DE-C3CE-22AB-6EAE0EAAB24E}"/>
              </a:ext>
            </a:extLst>
          </p:cNvPr>
          <p:cNvSpPr/>
          <p:nvPr/>
        </p:nvSpPr>
        <p:spPr>
          <a:xfrm>
            <a:off x="4566820" y="2256764"/>
            <a:ext cx="1123312" cy="549043"/>
          </a:xfrm>
          <a:prstGeom prst="rect">
            <a:avLst/>
          </a:prstGeom>
          <a:solidFill>
            <a:schemeClr val="accent3">
              <a:lumMod val="25000"/>
              <a:lumOff val="75000"/>
            </a:schemeClr>
          </a:solidFill>
          <a:ln>
            <a:noFill/>
          </a:ln>
        </p:spPr>
        <p:style>
          <a:lnRef idx="2">
            <a:schemeClr val="lt1">
              <a:hueOff val="0"/>
              <a:satOff val="0"/>
              <a:lumOff val="0"/>
              <a:alphaOff val="0"/>
            </a:schemeClr>
          </a:lnRef>
          <a:fillRef idx="1">
            <a:schemeClr val="accent4">
              <a:hueOff val="-141666"/>
              <a:satOff val="8738"/>
              <a:lumOff val="-8575"/>
              <a:alphaOff val="0"/>
            </a:schemeClr>
          </a:fillRef>
          <a:effectRef idx="0">
            <a:schemeClr val="accent4">
              <a:hueOff val="-141666"/>
              <a:satOff val="8738"/>
              <a:lumOff val="-8575"/>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Hydro power &amp; biogas</a:t>
            </a:r>
          </a:p>
        </p:txBody>
      </p:sp>
      <p:sp>
        <p:nvSpPr>
          <p:cNvPr id="26" name="Rechteck 25">
            <a:extLst>
              <a:ext uri="{FF2B5EF4-FFF2-40B4-BE49-F238E27FC236}">
                <a16:creationId xmlns:a16="http://schemas.microsoft.com/office/drawing/2014/main" id="{DE566894-FE32-5115-0815-CE062304FCDE}"/>
              </a:ext>
            </a:extLst>
          </p:cNvPr>
          <p:cNvSpPr/>
          <p:nvPr/>
        </p:nvSpPr>
        <p:spPr>
          <a:xfrm>
            <a:off x="5910074" y="2256604"/>
            <a:ext cx="1195110" cy="549043"/>
          </a:xfrm>
          <a:prstGeom prst="rect">
            <a:avLst/>
          </a:prstGeom>
          <a:solidFill>
            <a:schemeClr val="accent3">
              <a:lumMod val="25000"/>
              <a:lumOff val="75000"/>
            </a:schemeClr>
          </a:solidFill>
          <a:ln>
            <a:noFill/>
          </a:ln>
        </p:spPr>
        <p:style>
          <a:lnRef idx="2">
            <a:schemeClr val="lt1">
              <a:hueOff val="0"/>
              <a:satOff val="0"/>
              <a:lumOff val="0"/>
              <a:alphaOff val="0"/>
            </a:schemeClr>
          </a:lnRef>
          <a:fillRef idx="1">
            <a:schemeClr val="accent4">
              <a:hueOff val="-212499"/>
              <a:satOff val="13107"/>
              <a:lumOff val="-12863"/>
              <a:alphaOff val="0"/>
            </a:schemeClr>
          </a:fillRef>
          <a:effectRef idx="0">
            <a:schemeClr val="accent4">
              <a:hueOff val="-212499"/>
              <a:satOff val="13107"/>
              <a:lumOff val="-12863"/>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Hydrogen/gas turbines</a:t>
            </a:r>
          </a:p>
        </p:txBody>
      </p:sp>
      <p:sp>
        <p:nvSpPr>
          <p:cNvPr id="27" name="Rechteck 26">
            <a:extLst>
              <a:ext uri="{FF2B5EF4-FFF2-40B4-BE49-F238E27FC236}">
                <a16:creationId xmlns:a16="http://schemas.microsoft.com/office/drawing/2014/main" id="{844B157F-5A30-D227-CBCA-B230818504E9}"/>
              </a:ext>
            </a:extLst>
          </p:cNvPr>
          <p:cNvSpPr/>
          <p:nvPr/>
        </p:nvSpPr>
        <p:spPr>
          <a:xfrm>
            <a:off x="7171520" y="3952456"/>
            <a:ext cx="1004612" cy="549043"/>
          </a:xfrm>
          <a:prstGeom prst="rect">
            <a:avLst/>
          </a:prstGeom>
          <a:ln>
            <a:noFill/>
          </a:ln>
        </p:spPr>
        <p:style>
          <a:lnRef idx="2">
            <a:schemeClr val="lt1">
              <a:hueOff val="0"/>
              <a:satOff val="0"/>
              <a:lumOff val="0"/>
              <a:alphaOff val="0"/>
            </a:schemeClr>
          </a:lnRef>
          <a:fillRef idx="1">
            <a:schemeClr val="accent4">
              <a:hueOff val="-283332"/>
              <a:satOff val="17476"/>
              <a:lumOff val="-17151"/>
              <a:alphaOff val="0"/>
            </a:schemeClr>
          </a:fillRef>
          <a:effectRef idx="0">
            <a:schemeClr val="accent4">
              <a:hueOff val="-283332"/>
              <a:satOff val="17476"/>
              <a:lumOff val="-17151"/>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a:t>Grids</a:t>
            </a:r>
          </a:p>
        </p:txBody>
      </p:sp>
      <p:sp>
        <p:nvSpPr>
          <p:cNvPr id="29" name="Rechteck 28">
            <a:extLst>
              <a:ext uri="{FF2B5EF4-FFF2-40B4-BE49-F238E27FC236}">
                <a16:creationId xmlns:a16="http://schemas.microsoft.com/office/drawing/2014/main" id="{06119599-C4DE-3E2A-F9A5-8946E4FD5397}"/>
              </a:ext>
            </a:extLst>
          </p:cNvPr>
          <p:cNvSpPr/>
          <p:nvPr/>
        </p:nvSpPr>
        <p:spPr>
          <a:xfrm>
            <a:off x="8542234" y="3549486"/>
            <a:ext cx="1287533" cy="613915"/>
          </a:xfrm>
          <a:prstGeom prst="rect">
            <a:avLst/>
          </a:prstGeom>
          <a:ln>
            <a:noFill/>
          </a:ln>
        </p:spPr>
        <p:style>
          <a:lnRef idx="2">
            <a:schemeClr val="lt1">
              <a:hueOff val="0"/>
              <a:satOff val="0"/>
              <a:lumOff val="0"/>
              <a:alphaOff val="0"/>
            </a:schemeClr>
          </a:lnRef>
          <a:fillRef idx="1">
            <a:schemeClr val="accent4">
              <a:hueOff val="-354164"/>
              <a:satOff val="21845"/>
              <a:lumOff val="-21438"/>
              <a:alphaOff val="0"/>
            </a:schemeClr>
          </a:fillRef>
          <a:effectRef idx="0">
            <a:schemeClr val="accent4">
              <a:hueOff val="-354164"/>
              <a:satOff val="21845"/>
              <a:lumOff val="-21438"/>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Transmission grids &amp; interconnectors</a:t>
            </a:r>
          </a:p>
        </p:txBody>
      </p:sp>
      <p:sp>
        <p:nvSpPr>
          <p:cNvPr id="31" name="Rechteck 30">
            <a:extLst>
              <a:ext uri="{FF2B5EF4-FFF2-40B4-BE49-F238E27FC236}">
                <a16:creationId xmlns:a16="http://schemas.microsoft.com/office/drawing/2014/main" id="{BFE52CC1-EFE4-D633-052E-638223028860}"/>
              </a:ext>
            </a:extLst>
          </p:cNvPr>
          <p:cNvSpPr/>
          <p:nvPr/>
        </p:nvSpPr>
        <p:spPr>
          <a:xfrm>
            <a:off x="8542233" y="4266815"/>
            <a:ext cx="1287533" cy="549043"/>
          </a:xfrm>
          <a:prstGeom prst="rect">
            <a:avLst/>
          </a:prstGeom>
          <a:ln>
            <a:noFill/>
          </a:ln>
        </p:spPr>
        <p:style>
          <a:lnRef idx="2">
            <a:schemeClr val="lt1">
              <a:hueOff val="0"/>
              <a:satOff val="0"/>
              <a:lumOff val="0"/>
              <a:alphaOff val="0"/>
            </a:schemeClr>
          </a:lnRef>
          <a:fillRef idx="1">
            <a:schemeClr val="accent4">
              <a:hueOff val="-424997"/>
              <a:satOff val="26214"/>
              <a:lumOff val="-25726"/>
              <a:alphaOff val="0"/>
            </a:schemeClr>
          </a:fillRef>
          <a:effectRef idx="0">
            <a:schemeClr val="accent4">
              <a:hueOff val="-424997"/>
              <a:satOff val="26214"/>
              <a:lumOff val="-25726"/>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Distribution grids</a:t>
            </a:r>
          </a:p>
        </p:txBody>
      </p:sp>
      <p:sp>
        <p:nvSpPr>
          <p:cNvPr id="32" name="Rechteck 31">
            <a:extLst>
              <a:ext uri="{FF2B5EF4-FFF2-40B4-BE49-F238E27FC236}">
                <a16:creationId xmlns:a16="http://schemas.microsoft.com/office/drawing/2014/main" id="{65127507-7E3E-523A-CFCF-EDFEA02519C3}"/>
              </a:ext>
            </a:extLst>
          </p:cNvPr>
          <p:cNvSpPr/>
          <p:nvPr/>
        </p:nvSpPr>
        <p:spPr>
          <a:xfrm>
            <a:off x="5345347" y="4924043"/>
            <a:ext cx="1004612" cy="549043"/>
          </a:xfrm>
          <a:prstGeom prst="rect">
            <a:avLst/>
          </a:prstGeom>
          <a:ln>
            <a:noFill/>
          </a:ln>
        </p:spPr>
        <p:style>
          <a:lnRef idx="2">
            <a:schemeClr val="lt1">
              <a:hueOff val="0"/>
              <a:satOff val="0"/>
              <a:lumOff val="0"/>
              <a:alphaOff val="0"/>
            </a:schemeClr>
          </a:lnRef>
          <a:fillRef idx="1">
            <a:schemeClr val="accent4">
              <a:hueOff val="-495830"/>
              <a:satOff val="30583"/>
              <a:lumOff val="-30014"/>
              <a:alphaOff val="0"/>
            </a:schemeClr>
          </a:fillRef>
          <a:effectRef idx="0">
            <a:schemeClr val="accent4">
              <a:hueOff val="-495830"/>
              <a:satOff val="30583"/>
              <a:lumOff val="-30014"/>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a:t>Storage systems</a:t>
            </a:r>
          </a:p>
        </p:txBody>
      </p:sp>
      <p:sp>
        <p:nvSpPr>
          <p:cNvPr id="34" name="Rechteck 33">
            <a:extLst>
              <a:ext uri="{FF2B5EF4-FFF2-40B4-BE49-F238E27FC236}">
                <a16:creationId xmlns:a16="http://schemas.microsoft.com/office/drawing/2014/main" id="{8832436A-E9A6-5F27-B865-9323240A33CD}"/>
              </a:ext>
            </a:extLst>
          </p:cNvPr>
          <p:cNvSpPr/>
          <p:nvPr/>
        </p:nvSpPr>
        <p:spPr>
          <a:xfrm>
            <a:off x="6525566" y="5733816"/>
            <a:ext cx="1004612" cy="549043"/>
          </a:xfrm>
          <a:prstGeom prst="rect">
            <a:avLst/>
          </a:prstGeom>
          <a:ln>
            <a:noFill/>
          </a:ln>
        </p:spPr>
        <p:style>
          <a:lnRef idx="2">
            <a:schemeClr val="lt1">
              <a:hueOff val="0"/>
              <a:satOff val="0"/>
              <a:lumOff val="0"/>
              <a:alphaOff val="0"/>
            </a:schemeClr>
          </a:lnRef>
          <a:fillRef idx="1">
            <a:schemeClr val="accent4">
              <a:hueOff val="-566663"/>
              <a:satOff val="34953"/>
              <a:lumOff val="-34301"/>
              <a:alphaOff val="0"/>
            </a:schemeClr>
          </a:fillRef>
          <a:effectRef idx="0">
            <a:schemeClr val="accent4">
              <a:hueOff val="-566663"/>
              <a:satOff val="34953"/>
              <a:lumOff val="-34301"/>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Large-scale BESS</a:t>
            </a:r>
          </a:p>
        </p:txBody>
      </p:sp>
      <p:sp>
        <p:nvSpPr>
          <p:cNvPr id="36" name="Rechteck 35">
            <a:extLst>
              <a:ext uri="{FF2B5EF4-FFF2-40B4-BE49-F238E27FC236}">
                <a16:creationId xmlns:a16="http://schemas.microsoft.com/office/drawing/2014/main" id="{50997312-6554-59B2-063B-202F8F899278}"/>
              </a:ext>
            </a:extLst>
          </p:cNvPr>
          <p:cNvSpPr/>
          <p:nvPr/>
        </p:nvSpPr>
        <p:spPr>
          <a:xfrm>
            <a:off x="5345347" y="5726085"/>
            <a:ext cx="1004612" cy="549043"/>
          </a:xfrm>
          <a:prstGeom prst="rect">
            <a:avLst/>
          </a:prstGeom>
          <a:ln>
            <a:noFill/>
          </a:ln>
        </p:spPr>
        <p:style>
          <a:lnRef idx="2">
            <a:schemeClr val="lt1">
              <a:hueOff val="0"/>
              <a:satOff val="0"/>
              <a:lumOff val="0"/>
              <a:alphaOff val="0"/>
            </a:schemeClr>
          </a:lnRef>
          <a:fillRef idx="1">
            <a:schemeClr val="accent4">
              <a:hueOff val="-637496"/>
              <a:satOff val="39322"/>
              <a:lumOff val="-38589"/>
              <a:alphaOff val="0"/>
            </a:schemeClr>
          </a:fillRef>
          <a:effectRef idx="0">
            <a:schemeClr val="accent4">
              <a:hueOff val="-637496"/>
              <a:satOff val="39322"/>
              <a:lumOff val="-38589"/>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Home BESS</a:t>
            </a:r>
          </a:p>
        </p:txBody>
      </p:sp>
      <p:sp>
        <p:nvSpPr>
          <p:cNvPr id="38" name="Rechteck 37">
            <a:extLst>
              <a:ext uri="{FF2B5EF4-FFF2-40B4-BE49-F238E27FC236}">
                <a16:creationId xmlns:a16="http://schemas.microsoft.com/office/drawing/2014/main" id="{619A2268-6938-DD4E-AAA6-BB2D98121155}"/>
              </a:ext>
            </a:extLst>
          </p:cNvPr>
          <p:cNvSpPr/>
          <p:nvPr/>
        </p:nvSpPr>
        <p:spPr>
          <a:xfrm>
            <a:off x="4061317" y="5725731"/>
            <a:ext cx="1108423" cy="549043"/>
          </a:xfrm>
          <a:prstGeom prst="rect">
            <a:avLst/>
          </a:prstGeom>
          <a:ln>
            <a:noFill/>
          </a:ln>
        </p:spPr>
        <p:style>
          <a:lnRef idx="2">
            <a:schemeClr val="lt1">
              <a:hueOff val="0"/>
              <a:satOff val="0"/>
              <a:lumOff val="0"/>
              <a:alphaOff val="0"/>
            </a:schemeClr>
          </a:lnRef>
          <a:fillRef idx="1">
            <a:schemeClr val="accent4">
              <a:hueOff val="-708329"/>
              <a:satOff val="43691"/>
              <a:lumOff val="-42877"/>
              <a:alphaOff val="0"/>
            </a:schemeClr>
          </a:fillRef>
          <a:effectRef idx="0">
            <a:schemeClr val="accent4">
              <a:hueOff val="-708329"/>
              <a:satOff val="43691"/>
              <a:lumOff val="-42877"/>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E-mobility (vehicle2grid)</a:t>
            </a:r>
          </a:p>
        </p:txBody>
      </p:sp>
      <p:sp>
        <p:nvSpPr>
          <p:cNvPr id="39" name="Rechteck 38">
            <a:extLst>
              <a:ext uri="{FF2B5EF4-FFF2-40B4-BE49-F238E27FC236}">
                <a16:creationId xmlns:a16="http://schemas.microsoft.com/office/drawing/2014/main" id="{42FDD9A9-AD55-EF29-77FF-ADB7A2997D59}"/>
              </a:ext>
            </a:extLst>
          </p:cNvPr>
          <p:cNvSpPr/>
          <p:nvPr/>
        </p:nvSpPr>
        <p:spPr>
          <a:xfrm>
            <a:off x="3943239" y="3952455"/>
            <a:ext cx="747572" cy="549044"/>
          </a:xfrm>
          <a:prstGeom prst="rect">
            <a:avLst/>
          </a:prstGeom>
          <a:ln>
            <a:noFill/>
          </a:ln>
        </p:spPr>
        <p:style>
          <a:lnRef idx="2">
            <a:schemeClr val="lt1">
              <a:hueOff val="0"/>
              <a:satOff val="0"/>
              <a:lumOff val="0"/>
              <a:alphaOff val="0"/>
            </a:schemeClr>
          </a:lnRef>
          <a:fillRef idx="1">
            <a:schemeClr val="accent4">
              <a:hueOff val="-779162"/>
              <a:satOff val="48060"/>
              <a:lumOff val="-47164"/>
              <a:alphaOff val="0"/>
            </a:schemeClr>
          </a:fillRef>
          <a:effectRef idx="0">
            <a:schemeClr val="accent4">
              <a:hueOff val="-779162"/>
              <a:satOff val="48060"/>
              <a:lumOff val="-47164"/>
              <a:alphaOff val="0"/>
            </a:schemeClr>
          </a:effectRef>
          <a:fontRef idx="minor">
            <a:schemeClr val="lt1"/>
          </a:fontRef>
        </p:style>
        <p:txBody>
          <a:bodyPr spcFirstLastPara="0" vert="horz" wrap="square" lIns="35184" tIns="35184" rIns="35184" bIns="35184" numCol="1" spcCol="1270" anchor="ctr" anchorCtr="0">
            <a:noAutofit/>
          </a:bodyPr>
          <a:lstStyle/>
          <a:p>
            <a:pPr marL="0" lvl="0" indent="0" algn="ctr" defTabSz="266700">
              <a:lnSpc>
                <a:spcPct val="90000"/>
              </a:lnSpc>
              <a:spcBef>
                <a:spcPct val="0"/>
              </a:spcBef>
              <a:spcAft>
                <a:spcPct val="35000"/>
              </a:spcAft>
              <a:buNone/>
            </a:pPr>
            <a:r>
              <a:rPr lang="de-DE" sz="1400" kern="1200" dirty="0"/>
              <a:t>Flexible demand</a:t>
            </a:r>
          </a:p>
        </p:txBody>
      </p:sp>
      <p:sp>
        <p:nvSpPr>
          <p:cNvPr id="41" name="Rechteck 40">
            <a:extLst>
              <a:ext uri="{FF2B5EF4-FFF2-40B4-BE49-F238E27FC236}">
                <a16:creationId xmlns:a16="http://schemas.microsoft.com/office/drawing/2014/main" id="{FAD8218C-62AA-E985-F141-62D4BCF46D69}"/>
              </a:ext>
            </a:extLst>
          </p:cNvPr>
          <p:cNvSpPr/>
          <p:nvPr/>
        </p:nvSpPr>
        <p:spPr>
          <a:xfrm>
            <a:off x="2589985" y="3261103"/>
            <a:ext cx="986906" cy="408565"/>
          </a:xfrm>
          <a:prstGeom prst="rect">
            <a:avLst/>
          </a:prstGeom>
          <a:ln>
            <a:noFill/>
          </a:ln>
        </p:spPr>
        <p:style>
          <a:lnRef idx="2">
            <a:schemeClr val="lt1">
              <a:hueOff val="0"/>
              <a:satOff val="0"/>
              <a:lumOff val="0"/>
              <a:alphaOff val="0"/>
            </a:schemeClr>
          </a:lnRef>
          <a:fillRef idx="1">
            <a:schemeClr val="accent4">
              <a:hueOff val="-849995"/>
              <a:satOff val="52429"/>
              <a:lumOff val="-51452"/>
              <a:alphaOff val="0"/>
            </a:schemeClr>
          </a:fillRef>
          <a:effectRef idx="0">
            <a:schemeClr val="accent4">
              <a:hueOff val="-849995"/>
              <a:satOff val="52429"/>
              <a:lumOff val="-51452"/>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Electrolyzer</a:t>
            </a:r>
          </a:p>
        </p:txBody>
      </p:sp>
      <p:sp>
        <p:nvSpPr>
          <p:cNvPr id="43" name="Rechteck 42">
            <a:extLst>
              <a:ext uri="{FF2B5EF4-FFF2-40B4-BE49-F238E27FC236}">
                <a16:creationId xmlns:a16="http://schemas.microsoft.com/office/drawing/2014/main" id="{3C8D0D9C-CF64-529E-711B-4E03C23A9CB6}"/>
              </a:ext>
            </a:extLst>
          </p:cNvPr>
          <p:cNvSpPr/>
          <p:nvPr/>
        </p:nvSpPr>
        <p:spPr>
          <a:xfrm>
            <a:off x="2589985" y="4248946"/>
            <a:ext cx="986906" cy="408565"/>
          </a:xfrm>
          <a:prstGeom prst="rect">
            <a:avLst/>
          </a:prstGeom>
          <a:ln>
            <a:noFill/>
          </a:ln>
        </p:spPr>
        <p:style>
          <a:lnRef idx="2">
            <a:schemeClr val="lt1">
              <a:hueOff val="0"/>
              <a:satOff val="0"/>
              <a:lumOff val="0"/>
              <a:alphaOff val="0"/>
            </a:schemeClr>
          </a:lnRef>
          <a:fillRef idx="1">
            <a:schemeClr val="accent4">
              <a:hueOff val="-920828"/>
              <a:satOff val="56798"/>
              <a:lumOff val="-55740"/>
              <a:alphaOff val="0"/>
            </a:schemeClr>
          </a:fillRef>
          <a:effectRef idx="0">
            <a:schemeClr val="accent4">
              <a:hueOff val="-920828"/>
              <a:satOff val="56798"/>
              <a:lumOff val="-55740"/>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Heat pumps</a:t>
            </a:r>
          </a:p>
        </p:txBody>
      </p:sp>
      <p:sp>
        <p:nvSpPr>
          <p:cNvPr id="45" name="Rechteck 44">
            <a:extLst>
              <a:ext uri="{FF2B5EF4-FFF2-40B4-BE49-F238E27FC236}">
                <a16:creationId xmlns:a16="http://schemas.microsoft.com/office/drawing/2014/main" id="{652CE657-4652-3D87-A40D-79F248D0F65F}"/>
              </a:ext>
            </a:extLst>
          </p:cNvPr>
          <p:cNvSpPr/>
          <p:nvPr/>
        </p:nvSpPr>
        <p:spPr>
          <a:xfrm>
            <a:off x="2588649" y="3754836"/>
            <a:ext cx="986906" cy="408565"/>
          </a:xfrm>
          <a:prstGeom prst="rect">
            <a:avLst/>
          </a:prstGeom>
          <a:ln>
            <a:noFill/>
          </a:ln>
        </p:spPr>
        <p:style>
          <a:lnRef idx="2">
            <a:schemeClr val="lt1">
              <a:hueOff val="0"/>
              <a:satOff val="0"/>
              <a:lumOff val="0"/>
              <a:alphaOff val="0"/>
            </a:schemeClr>
          </a:lnRef>
          <a:fillRef idx="1">
            <a:schemeClr val="accent4">
              <a:hueOff val="-991660"/>
              <a:satOff val="61167"/>
              <a:lumOff val="-60027"/>
              <a:alphaOff val="0"/>
            </a:schemeClr>
          </a:fillRef>
          <a:effectRef idx="0">
            <a:schemeClr val="accent4">
              <a:hueOff val="-991660"/>
              <a:satOff val="61167"/>
              <a:lumOff val="-60027"/>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E-mobility</a:t>
            </a:r>
          </a:p>
        </p:txBody>
      </p:sp>
      <p:sp>
        <p:nvSpPr>
          <p:cNvPr id="47" name="Rechteck 46">
            <a:extLst>
              <a:ext uri="{FF2B5EF4-FFF2-40B4-BE49-F238E27FC236}">
                <a16:creationId xmlns:a16="http://schemas.microsoft.com/office/drawing/2014/main" id="{DDE0BAC3-4147-26AA-7ABC-1C30D7346EE2}"/>
              </a:ext>
            </a:extLst>
          </p:cNvPr>
          <p:cNvSpPr/>
          <p:nvPr/>
        </p:nvSpPr>
        <p:spPr>
          <a:xfrm>
            <a:off x="2588649" y="4743056"/>
            <a:ext cx="986906" cy="408565"/>
          </a:xfrm>
          <a:prstGeom prst="rect">
            <a:avLst/>
          </a:prstGeom>
          <a:ln>
            <a:noFill/>
          </a:ln>
        </p:spPr>
        <p:style>
          <a:lnRef idx="2">
            <a:schemeClr val="lt1">
              <a:hueOff val="0"/>
              <a:satOff val="0"/>
              <a:lumOff val="0"/>
              <a:alphaOff val="0"/>
            </a:schemeClr>
          </a:lnRef>
          <a:fillRef idx="1">
            <a:schemeClr val="accent4">
              <a:hueOff val="-1062493"/>
              <a:satOff val="65536"/>
              <a:lumOff val="-64315"/>
              <a:alphaOff val="0"/>
            </a:schemeClr>
          </a:fillRef>
          <a:effectRef idx="0">
            <a:schemeClr val="accent4">
              <a:hueOff val="-1062493"/>
              <a:satOff val="65536"/>
              <a:lumOff val="-64315"/>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other</a:t>
            </a:r>
          </a:p>
        </p:txBody>
      </p:sp>
      <p:cxnSp>
        <p:nvCxnSpPr>
          <p:cNvPr id="49" name="Gerader Verbinder 48">
            <a:extLst>
              <a:ext uri="{FF2B5EF4-FFF2-40B4-BE49-F238E27FC236}">
                <a16:creationId xmlns:a16="http://schemas.microsoft.com/office/drawing/2014/main" id="{96AF8E8B-B8C0-4053-F555-C7A171E7142B}"/>
              </a:ext>
            </a:extLst>
          </p:cNvPr>
          <p:cNvCxnSpPr>
            <a:cxnSpLocks/>
            <a:stCxn id="21" idx="1"/>
            <a:endCxn id="39" idx="3"/>
          </p:cNvCxnSpPr>
          <p:nvPr/>
        </p:nvCxnSpPr>
        <p:spPr>
          <a:xfrm flipH="1" flipV="1">
            <a:off x="4690811" y="4226977"/>
            <a:ext cx="407132" cy="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5034C63-2D29-70E1-C348-C130F6493FE0}"/>
              </a:ext>
            </a:extLst>
          </p:cNvPr>
          <p:cNvCxnSpPr>
            <a:cxnSpLocks/>
            <a:stCxn id="21" idx="2"/>
            <a:endCxn id="32" idx="0"/>
          </p:cNvCxnSpPr>
          <p:nvPr/>
        </p:nvCxnSpPr>
        <p:spPr>
          <a:xfrm>
            <a:off x="5847653" y="4636711"/>
            <a:ext cx="0" cy="28733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C3B39DBB-8AFA-08B8-A633-43EDE56405F4}"/>
              </a:ext>
            </a:extLst>
          </p:cNvPr>
          <p:cNvCxnSpPr>
            <a:cxnSpLocks/>
            <a:stCxn id="21" idx="0"/>
            <a:endCxn id="22" idx="2"/>
          </p:cNvCxnSpPr>
          <p:nvPr/>
        </p:nvCxnSpPr>
        <p:spPr>
          <a:xfrm flipV="1">
            <a:off x="5847653" y="3595746"/>
            <a:ext cx="0" cy="22149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8233C7B4-E2F4-2DAC-53ED-504405B4D346}"/>
              </a:ext>
            </a:extLst>
          </p:cNvPr>
          <p:cNvCxnSpPr>
            <a:cxnSpLocks/>
            <a:stCxn id="21" idx="3"/>
            <a:endCxn id="27" idx="1"/>
          </p:cNvCxnSpPr>
          <p:nvPr/>
        </p:nvCxnSpPr>
        <p:spPr>
          <a:xfrm>
            <a:off x="6597363" y="4226978"/>
            <a:ext cx="57415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96EE0CD9-3D0F-DB84-A0DD-10C543C492B2}"/>
              </a:ext>
            </a:extLst>
          </p:cNvPr>
          <p:cNvSpPr/>
          <p:nvPr/>
        </p:nvSpPr>
        <p:spPr>
          <a:xfrm>
            <a:off x="10772566" y="2169841"/>
            <a:ext cx="707303" cy="421817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de-DE" dirty="0"/>
              <a:t>Inflexible demand</a:t>
            </a:r>
          </a:p>
        </p:txBody>
      </p:sp>
      <p:sp>
        <p:nvSpPr>
          <p:cNvPr id="63" name="Rechteck 62">
            <a:extLst>
              <a:ext uri="{FF2B5EF4-FFF2-40B4-BE49-F238E27FC236}">
                <a16:creationId xmlns:a16="http://schemas.microsoft.com/office/drawing/2014/main" id="{18D747DB-6832-CAFD-E60A-FF20E7EAEE70}"/>
              </a:ext>
            </a:extLst>
          </p:cNvPr>
          <p:cNvSpPr/>
          <p:nvPr/>
        </p:nvSpPr>
        <p:spPr>
          <a:xfrm>
            <a:off x="1003726" y="2169841"/>
            <a:ext cx="707303" cy="421817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de-DE" dirty="0"/>
              <a:t>Fluctuating renewable generation</a:t>
            </a:r>
          </a:p>
        </p:txBody>
      </p:sp>
      <p:cxnSp>
        <p:nvCxnSpPr>
          <p:cNvPr id="66" name="Verbinder: gewinkelt 65">
            <a:extLst>
              <a:ext uri="{FF2B5EF4-FFF2-40B4-BE49-F238E27FC236}">
                <a16:creationId xmlns:a16="http://schemas.microsoft.com/office/drawing/2014/main" id="{2B24B569-5E5E-CC33-960A-C5BD8DC3E0DB}"/>
              </a:ext>
            </a:extLst>
          </p:cNvPr>
          <p:cNvCxnSpPr>
            <a:stCxn id="22" idx="0"/>
            <a:endCxn id="26" idx="2"/>
          </p:cNvCxnSpPr>
          <p:nvPr/>
        </p:nvCxnSpPr>
        <p:spPr>
          <a:xfrm rot="5400000" flipH="1" flipV="1">
            <a:off x="6057113" y="2596187"/>
            <a:ext cx="241056" cy="659976"/>
          </a:xfrm>
          <a:prstGeom prst="bentConnector3">
            <a:avLst/>
          </a:prstGeom>
          <a:ln w="12700"/>
        </p:spPr>
        <p:style>
          <a:lnRef idx="1">
            <a:schemeClr val="accent1"/>
          </a:lnRef>
          <a:fillRef idx="0">
            <a:schemeClr val="accent1"/>
          </a:fillRef>
          <a:effectRef idx="0">
            <a:schemeClr val="accent1"/>
          </a:effectRef>
          <a:fontRef idx="minor">
            <a:schemeClr val="tx1"/>
          </a:fontRef>
        </p:style>
      </p:cxnSp>
      <p:cxnSp>
        <p:nvCxnSpPr>
          <p:cNvPr id="69" name="Verbinder: gewinkelt 68">
            <a:extLst>
              <a:ext uri="{FF2B5EF4-FFF2-40B4-BE49-F238E27FC236}">
                <a16:creationId xmlns:a16="http://schemas.microsoft.com/office/drawing/2014/main" id="{87B97609-D0DA-C51F-33A4-583125C121BA}"/>
              </a:ext>
            </a:extLst>
          </p:cNvPr>
          <p:cNvCxnSpPr>
            <a:cxnSpLocks/>
            <a:stCxn id="22" idx="0"/>
            <a:endCxn id="24" idx="2"/>
          </p:cNvCxnSpPr>
          <p:nvPr/>
        </p:nvCxnSpPr>
        <p:spPr>
          <a:xfrm rot="16200000" flipV="1">
            <a:off x="5367617" y="2566666"/>
            <a:ext cx="240896" cy="719177"/>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2" name="Verbinder: gewinkelt 71">
            <a:extLst>
              <a:ext uri="{FF2B5EF4-FFF2-40B4-BE49-F238E27FC236}">
                <a16:creationId xmlns:a16="http://schemas.microsoft.com/office/drawing/2014/main" id="{2E24ADF6-75C9-50A1-84BC-70AAC9D0E14D}"/>
              </a:ext>
            </a:extLst>
          </p:cNvPr>
          <p:cNvCxnSpPr>
            <a:cxnSpLocks/>
            <a:stCxn id="39" idx="1"/>
            <a:endCxn id="41" idx="3"/>
          </p:cNvCxnSpPr>
          <p:nvPr/>
        </p:nvCxnSpPr>
        <p:spPr>
          <a:xfrm rot="10800000">
            <a:off x="3576891" y="3465387"/>
            <a:ext cx="366348" cy="761591"/>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5" name="Verbinder: gewinkelt 74">
            <a:extLst>
              <a:ext uri="{FF2B5EF4-FFF2-40B4-BE49-F238E27FC236}">
                <a16:creationId xmlns:a16="http://schemas.microsoft.com/office/drawing/2014/main" id="{5938DC89-3E27-91DE-6854-94B7C4F9FA9B}"/>
              </a:ext>
            </a:extLst>
          </p:cNvPr>
          <p:cNvCxnSpPr>
            <a:cxnSpLocks/>
            <a:stCxn id="39" idx="1"/>
            <a:endCxn id="45" idx="3"/>
          </p:cNvCxnSpPr>
          <p:nvPr/>
        </p:nvCxnSpPr>
        <p:spPr>
          <a:xfrm rot="10800000">
            <a:off x="3575555" y="3959119"/>
            <a:ext cx="367684" cy="267858"/>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8" name="Verbinder: gewinkelt 77">
            <a:extLst>
              <a:ext uri="{FF2B5EF4-FFF2-40B4-BE49-F238E27FC236}">
                <a16:creationId xmlns:a16="http://schemas.microsoft.com/office/drawing/2014/main" id="{075FCF03-33FD-7D8D-5883-21C36B487921}"/>
              </a:ext>
            </a:extLst>
          </p:cNvPr>
          <p:cNvCxnSpPr>
            <a:cxnSpLocks/>
            <a:stCxn id="39" idx="1"/>
            <a:endCxn id="43" idx="3"/>
          </p:cNvCxnSpPr>
          <p:nvPr/>
        </p:nvCxnSpPr>
        <p:spPr>
          <a:xfrm rot="10800000" flipV="1">
            <a:off x="3576891" y="4226977"/>
            <a:ext cx="366348" cy="226252"/>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1" name="Verbinder: gewinkelt 80">
            <a:extLst>
              <a:ext uri="{FF2B5EF4-FFF2-40B4-BE49-F238E27FC236}">
                <a16:creationId xmlns:a16="http://schemas.microsoft.com/office/drawing/2014/main" id="{7D747D4F-9C88-EDF2-4852-434AB11314EE}"/>
              </a:ext>
            </a:extLst>
          </p:cNvPr>
          <p:cNvCxnSpPr>
            <a:cxnSpLocks/>
            <a:stCxn id="39" idx="1"/>
            <a:endCxn id="47" idx="3"/>
          </p:cNvCxnSpPr>
          <p:nvPr/>
        </p:nvCxnSpPr>
        <p:spPr>
          <a:xfrm rot="10800000" flipV="1">
            <a:off x="3575555" y="4226977"/>
            <a:ext cx="367684" cy="720362"/>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4" name="Verbinder: gewinkelt 83">
            <a:extLst>
              <a:ext uri="{FF2B5EF4-FFF2-40B4-BE49-F238E27FC236}">
                <a16:creationId xmlns:a16="http://schemas.microsoft.com/office/drawing/2014/main" id="{6726A69E-8928-749A-866C-C899774B68AE}"/>
              </a:ext>
            </a:extLst>
          </p:cNvPr>
          <p:cNvCxnSpPr>
            <a:cxnSpLocks/>
            <a:stCxn id="32" idx="2"/>
            <a:endCxn id="38" idx="0"/>
          </p:cNvCxnSpPr>
          <p:nvPr/>
        </p:nvCxnSpPr>
        <p:spPr>
          <a:xfrm rot="5400000">
            <a:off x="5105269" y="4983346"/>
            <a:ext cx="252645" cy="1232124"/>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7" name="Verbinder: gewinkelt 86">
            <a:extLst>
              <a:ext uri="{FF2B5EF4-FFF2-40B4-BE49-F238E27FC236}">
                <a16:creationId xmlns:a16="http://schemas.microsoft.com/office/drawing/2014/main" id="{2D531108-9296-02DE-E52E-A120903516B9}"/>
              </a:ext>
            </a:extLst>
          </p:cNvPr>
          <p:cNvCxnSpPr>
            <a:cxnSpLocks/>
            <a:stCxn id="32" idx="2"/>
            <a:endCxn id="34" idx="0"/>
          </p:cNvCxnSpPr>
          <p:nvPr/>
        </p:nvCxnSpPr>
        <p:spPr>
          <a:xfrm rot="16200000" flipH="1">
            <a:off x="6307397" y="5013341"/>
            <a:ext cx="260730" cy="1180219"/>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0" name="Verbinder: gewinkelt 89">
            <a:extLst>
              <a:ext uri="{FF2B5EF4-FFF2-40B4-BE49-F238E27FC236}">
                <a16:creationId xmlns:a16="http://schemas.microsoft.com/office/drawing/2014/main" id="{A96A45C9-7F7D-D342-BC57-08EC4A099027}"/>
              </a:ext>
            </a:extLst>
          </p:cNvPr>
          <p:cNvCxnSpPr>
            <a:cxnSpLocks/>
            <a:stCxn id="32" idx="2"/>
            <a:endCxn id="36" idx="0"/>
          </p:cNvCxnSpPr>
          <p:nvPr/>
        </p:nvCxnSpPr>
        <p:spPr>
          <a:xfrm rot="5400000">
            <a:off x="5721154" y="5599585"/>
            <a:ext cx="252999" cy="12700"/>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3" name="Verbinder: gewinkelt 92">
            <a:extLst>
              <a:ext uri="{FF2B5EF4-FFF2-40B4-BE49-F238E27FC236}">
                <a16:creationId xmlns:a16="http://schemas.microsoft.com/office/drawing/2014/main" id="{CFEB79AB-06A9-9587-C888-6791FC23225A}"/>
              </a:ext>
            </a:extLst>
          </p:cNvPr>
          <p:cNvCxnSpPr>
            <a:cxnSpLocks/>
            <a:stCxn id="31" idx="1"/>
            <a:endCxn id="27" idx="3"/>
          </p:cNvCxnSpPr>
          <p:nvPr/>
        </p:nvCxnSpPr>
        <p:spPr>
          <a:xfrm rot="10800000">
            <a:off x="8176133" y="4226979"/>
            <a:ext cx="366101" cy="314359"/>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6" name="Verbinder: gewinkelt 95">
            <a:extLst>
              <a:ext uri="{FF2B5EF4-FFF2-40B4-BE49-F238E27FC236}">
                <a16:creationId xmlns:a16="http://schemas.microsoft.com/office/drawing/2014/main" id="{D124FA42-2A05-E7DF-6457-EAC49AB38075}"/>
              </a:ext>
            </a:extLst>
          </p:cNvPr>
          <p:cNvCxnSpPr>
            <a:cxnSpLocks/>
            <a:stCxn id="29" idx="1"/>
            <a:endCxn id="27" idx="3"/>
          </p:cNvCxnSpPr>
          <p:nvPr/>
        </p:nvCxnSpPr>
        <p:spPr>
          <a:xfrm rot="10800000" flipV="1">
            <a:off x="8176132" y="3856444"/>
            <a:ext cx="366102" cy="370534"/>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03061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01D3678B-D791-4A85-91D8-2D7112A435D6}"/>
    </a:ext>
  </a:extLst>
</a:theme>
</file>

<file path=ppt/theme/theme10.xml><?xml version="1.0" encoding="utf-8"?>
<a:theme xmlns:a="http://schemas.openxmlformats.org/drawingml/2006/main" name="Montel Analysi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AEB08E85-537E-470C-9B28-FA7CF9A9D9B8}"/>
    </a:ext>
  </a:extLst>
</a:theme>
</file>

<file path=ppt/theme/theme11.xml><?xml version="1.0" encoding="utf-8"?>
<a:theme xmlns:a="http://schemas.openxmlformats.org/drawingml/2006/main" name="Montel Market data">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C5ED76BD-C6AE-4706-9EC6-7C87939D57BE}"/>
    </a:ext>
  </a:extLst>
</a:theme>
</file>

<file path=ppt/theme/theme12.xml><?xml version="1.0" encoding="utf-8"?>
<a:theme xmlns:a="http://schemas.openxmlformats.org/drawingml/2006/main" name="Montel Publication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70F6B2D1-73CC-43AF-9090-6A0527782517}"/>
    </a:ext>
  </a:extLst>
</a:theme>
</file>

<file path=ppt/theme/theme13.xml><?xml version="1.0" encoding="utf-8"?>
<a:theme xmlns:a="http://schemas.openxmlformats.org/drawingml/2006/main" name="Montel Marketplace">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BB2C19E0-51B4-4207-9F78-453324B1214B}"/>
    </a:ext>
  </a:extLst>
</a:theme>
</file>

<file path=ppt/theme/theme1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ntel Content">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2A22C100-8F71-463C-B12F-F5201B2F1700}"/>
    </a:ext>
  </a:extLst>
</a:theme>
</file>

<file path=ppt/theme/theme3.xml><?xml version="1.0" encoding="utf-8"?>
<a:theme xmlns:a="http://schemas.openxmlformats.org/drawingml/2006/main" name="Graphics">
  <a:themeElements>
    <a:clrScheme name="Montel - Green shades">
      <a:dk1>
        <a:srgbClr val="000000"/>
      </a:dk1>
      <a:lt1>
        <a:srgbClr val="FFFFFF"/>
      </a:lt1>
      <a:dk2>
        <a:srgbClr val="022E33"/>
      </a:dk2>
      <a:lt2>
        <a:srgbClr val="E6EAEB"/>
      </a:lt2>
      <a:accent1>
        <a:srgbClr val="10796F"/>
      </a:accent1>
      <a:accent2>
        <a:srgbClr val="B5EBE3"/>
      </a:accent2>
      <a:accent3>
        <a:srgbClr val="102C32"/>
      </a:accent3>
      <a:accent4>
        <a:srgbClr val="E6EAEB"/>
      </a:accent4>
      <a:accent5>
        <a:srgbClr val="10796F"/>
      </a:accent5>
      <a:accent6>
        <a:srgbClr val="B5EBE3"/>
      </a:accent6>
      <a:hlink>
        <a:srgbClr val="10796F"/>
      </a:hlink>
      <a:folHlink>
        <a:srgbClr val="E6EA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C004AD41-896A-431C-932F-D71C956924ED}"/>
    </a:ext>
  </a:extLst>
</a:theme>
</file>

<file path=ppt/theme/theme4.xml><?xml version="1.0" encoding="utf-8"?>
<a:theme xmlns:a="http://schemas.openxmlformats.org/drawingml/2006/main" name="Montel content - Dark Background">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CC46C6D4-A4BE-466A-90A6-6FE8766B222A}"/>
    </a:ext>
  </a:extLst>
</a:theme>
</file>

<file path=ppt/theme/theme5.xml><?xml version="1.0" encoding="utf-8"?>
<a:theme xmlns:a="http://schemas.openxmlformats.org/drawingml/2006/main" name="Montel New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8BF6EBDA-0417-4D49-AC65-6DCB94697804}"/>
    </a:ext>
  </a:extLst>
</a:theme>
</file>

<file path=ppt/theme/theme6.xml><?xml version="1.0" encoding="utf-8"?>
<a:theme xmlns:a="http://schemas.openxmlformats.org/drawingml/2006/main" name="Montel Advisory">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CC23D259-C9FF-468C-A568-424A8ACEDDDF}"/>
    </a:ext>
  </a:extLst>
</a:theme>
</file>

<file path=ppt/theme/theme7.xml><?xml version="1.0" encoding="utf-8"?>
<a:theme xmlns:a="http://schemas.openxmlformats.org/drawingml/2006/main" name="Montel Marketing service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56603728-AB63-4CAE-88AD-442C3176D7BA}"/>
    </a:ext>
  </a:extLst>
</a:theme>
</file>

<file path=ppt/theme/theme8.xml><?xml version="1.0" encoding="utf-8"?>
<a:theme xmlns:a="http://schemas.openxmlformats.org/drawingml/2006/main" name="Montel Risk management">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3F232A27-689A-4323-A59C-61356AEEC520}"/>
    </a:ext>
  </a:extLst>
</a:theme>
</file>

<file path=ppt/theme/theme9.xml><?xml version="1.0" encoding="utf-8"?>
<a:theme xmlns:a="http://schemas.openxmlformats.org/drawingml/2006/main" name="Montel Event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_Montel_PPT-Template" id="{6322E0CD-9285-4815-9714-88EC6C1D1261}" vid="{0273A4FA-89F5-40F8-B226-22B929935BA5}"/>
    </a:ext>
  </a:extLst>
</a:theme>
</file>

<file path=ppt/theme/themeOverride1.xml><?xml version="1.0" encoding="utf-8"?>
<a:themeOverride xmlns:a="http://schemas.openxmlformats.org/drawingml/2006/main">
  <a:clrScheme name="Energy Brainpool 2014">
    <a:dk1>
      <a:sysClr val="windowText" lastClr="000000"/>
    </a:dk1>
    <a:lt1>
      <a:srgbClr val="FFFFFF"/>
    </a:lt1>
    <a:dk2>
      <a:srgbClr val="EDF6FF"/>
    </a:dk2>
    <a:lt2>
      <a:srgbClr val="808080"/>
    </a:lt2>
    <a:accent1>
      <a:srgbClr val="00305D"/>
    </a:accent1>
    <a:accent2>
      <a:srgbClr val="E2001A"/>
    </a:accent2>
    <a:accent3>
      <a:srgbClr val="BFBFBF"/>
    </a:accent3>
    <a:accent4>
      <a:srgbClr val="005D30"/>
    </a:accent4>
    <a:accent5>
      <a:srgbClr val="4F0096"/>
    </a:accent5>
    <a:accent6>
      <a:srgbClr val="96004F"/>
    </a:accent6>
    <a:hlink>
      <a:srgbClr val="00305D"/>
    </a:hlink>
    <a:folHlink>
      <a:srgbClr val="E2001A"/>
    </a:folHlink>
  </a:clrScheme>
  <a:fontScheme name="Larissa">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qs:UpdateInfoSlideData xmlns:qs="urn:agency:FolienpoolTraining:quickSlide:extdata:slide:updateinfo">
  <qs:ThisSlideInfo>
    <qs:PresentationGuid/>
    <qs:SlideGuid>A16538E4-1402-4008-9CF4-B9B91E6EF8F2</qs:SlideGuid>
    <qs:SlideTitle>Risikomessung mit dem Mark-to-Market</qs:SlideTitle>
    <qs:PublishingDate>2019-02-27T14:45:50</qs:PublishingDate>
    <qs:Author>Angela Pietroni</qs:Author>
    <qs:OldGuid/>
  </qs:ThisSlideInfo>
  <qs:OrigSlideInfo>
    <qs:PresentationGuid/>
    <qs:SlideGuid>C24AEB23-C33E-4F65-AD3E-0816E80D1EB5</qs:SlideGuid>
    <qs:SlideTitle>Risikomessung mit dem Mark-to-Market</qs:SlideTitle>
    <qs:PublishingDate>2018-09-20T10:20:05</qs:PublishingDate>
    <qs:Author>Angela Pietroni</qs:Author>
    <qs:OldGuid/>
  </qs:OrigSlideInfo>
</qs:UpdateInfoSlideData>
</file>

<file path=customXml/item10.xml><?xml version="1.0" encoding="utf-8"?>
<p:properties xmlns:p="http://schemas.microsoft.com/office/2006/metadata/properties" xmlns:xsi="http://www.w3.org/2001/XMLSchema-instance" xmlns:pc="http://schemas.microsoft.com/office/infopath/2007/PartnerControls">
  <documentManagement>
    <lcf76f155ced4ddcb4097134ff3c332f xmlns="3789b4e6-85d6-45ae-bdc3-e9d01246750e">
      <Terms xmlns="http://schemas.microsoft.com/office/infopath/2007/PartnerControls"/>
    </lcf76f155ced4ddcb4097134ff3c332f>
    <TaxCatchAll xmlns="af6e6f5c-2a63-49d6-bf76-8f8ed4e72864" xsi:nil="true"/>
    <Owner xmlns="3789b4e6-85d6-45ae-bdc3-e9d01246750e" xsi:nil="true"/>
  </documentManagement>
</p:properties>
</file>

<file path=customXml/item11.xml><?xml version="1.0" encoding="utf-8"?>
<qs:UpdateInfoSlideData xmlns:qs="urn:agency:FolienpoolTraining:quickSlide:extdata:slide:updateinfo">
  <qs:ThisSlideInfo>
    <qs:PresentationGuid/>
    <qs:SlideGuid>4ACC5233-AEE7-4412-9149-18D4B825B35E</qs:SlideGuid>
    <qs:SlideTitle>Umsetzungsschritte im Risikomanagement</qs:SlideTitle>
    <qs:PublishingDate>2021-04-28T18:30:53</qs:PublishingDate>
    <qs:Author>Matthis Brinkhaus</qs:Author>
    <qs:OldGuid/>
  </qs:ThisSlideInfo>
  <qs:OrigSlideInfo>
    <qs:PresentationGuid/>
    <qs:SlideGuid>C98141A1-662E-4689-A353-9DBE7B92FF84</qs:SlideGuid>
    <qs:SlideTitle>Umsetzungsschritte im Risikomanagement</qs:SlideTitle>
    <qs:PublishingDate>2021-04-28T18:30:53</qs:PublishingDate>
    <qs:Author>Matthis Brinkhaus</qs:Author>
    <qs:OldGuid/>
  </qs:OrigSlideInfo>
</qs:UpdateInfoSlideData>
</file>

<file path=customXml/item12.xml><?xml version="1.0" encoding="utf-8"?>
<qs:UpdateInfoSlideData xmlns:qs="urn:agency:FolienpoolTraining:quickSlide:extdata:slide:updateinfo">
  <qs:ThisSlideInfo>
    <qs:PresentationGuid>56900CAF-A6D8-4C20-91D7-46F25F863C15</qs:PresentationGuid>
    <qs:SlideGuid>0D207B07-7501-4954-96AE-ACE401DBDA7E</qs:SlideGuid>
    <qs:SlideTitle>Risiken gehen nie verloren, sie werden nur umgewandelt</qs:SlideTitle>
    <qs:PresentationName>\\be-srv-02\Projekte_intern\EB (Training)\Folienpool Training\Folienpool Training Slides\Training\Risikomanagement.pptx</qs:PresentationName>
    <qs:ThumbNailName>\\be-srv-02\Projekte_intern\EB (Training)\Folienpool Training\Folienpool Training Slides\Training\QsData\Thmbs\485E8EA1.png</qs:ThumbNailName>
    <qs:PublishingDate>2018-01-08T14:39:19</qs:PublishingDate>
    <qs:Author>Angela Pietroni</qs:Author>
    <qs:OldGuid/>
  </qs:ThisSlideInfo>
  <qs:OrigSlideInfo>
    <qs:PresentationGuid>56900CAF-A6D8-4C20-91D7-46F25F863C15</qs:PresentationGuid>
    <qs:SlideGuid>0D207B07-7501-4954-96AE-ACE401DBDA7E</qs:SlideGuid>
    <qs:SlideTitle>Risiken gehen nie verloren, sie werden nur umgewandelt</qs:SlideTitle>
    <qs:PresentationName>\\be-srv-02\Projekte_intern\EB (Training)\Folienpool Training\Folienpool Training Slides\Training\Risikomanagement.pptx</qs:PresentationName>
    <qs:ThumbNailName>\\be-srv-02\Projekte_intern\EB (Training)\Folienpool Training\Folienpool Training Slides\Training\QsData\Thmbs\485E8EA1.png</qs:ThumbNailName>
    <qs:PublishingDate>2018-01-08T14:39:19</qs:PublishingDate>
    <qs:Author>Angela Pietroni</qs:Author>
    <qs:OldGuid/>
  </qs:OrigSlideInfo>
</qs:UpdateInfoSlideData>
</file>

<file path=customXml/item13.xml><?xml version="1.0" encoding="utf-8"?>
<qs:UpdateInfoSlideData xmlns:qs="urn:agency:FolienpoolTraining:quickSlide:extdata:slide:updateinfo">
  <qs:ThisSlideInfo>
    <qs:PresentationGuid/>
    <qs:SlideGuid>FADF9843-954E-4B42-8A72-A3C133987BBB</qs:SlideGuid>
    <qs:SlideTitle>Neuer Ansatz_ szenario-“Schwarm“ 3000 Szenarioläufe auf Grundlage der bisherigen Standardszenarien</qs:SlideTitle>
    <qs:PublishingDate>2021-09-03T08:29:52</qs:PublishingDate>
    <qs:Author>Alex Schmitt</qs:Author>
    <qs:OldGuid/>
  </qs:ThisSlideInfo>
  <qs:OrigSlideInfo>
    <qs:PresentationGuid/>
    <qs:SlideGuid>FADF9843-954E-4B42-8A72-A3C133987BBB</qs:SlideGuid>
    <qs:SlideTitle>Neuer Ansatz_ szenario-“Schwarm“ 3000 Szenarioläufe auf Grundlage der bisherigen Standardszenarien</qs:SlideTitle>
    <qs:PublishingDate>2021-09-03T08:29:52</qs:PublishingDate>
    <qs:Author>Alex Schmitt</qs:Author>
    <qs:OldGuid/>
  </qs:OrigSlideInfo>
</qs:UpdateInfoSlideData>
</file>

<file path=customXml/item14.xml><?xml version="1.0" encoding="utf-8"?>
<qs:UpdateInfoSlideData xmlns:qs="urn:agency:FolienpoolTraining:quickSlide:extdata:slide:updateinfo">
  <qs:ThisSlideInfo>
    <qs:PresentationGuid/>
    <qs:SlideGuid>6E17C709-9750-4D53-87D9-0321F1F96F1C</qs:SlideGuid>
    <qs:SlideTitle>Wertneutraler Hedge</qs:SlideTitle>
    <qs:PublishingDate>2019-02-27T14:49:20</qs:PublishingDate>
    <qs:Author>Angela Pietroni</qs:Author>
    <qs:OldGuid/>
  </qs:ThisSlideInfo>
  <qs:OrigSlideInfo>
    <qs:PresentationGuid/>
    <qs:SlideGuid>72E42498-F97B-45A0-86C9-D1C57AB1C4BF</qs:SlideGuid>
    <qs:SlideTitle>Wertneutraler Hedge</qs:SlideTitle>
    <qs:PublishingDate>2018-09-18T08:09:30</qs:PublishingDate>
    <qs:Author>Marie-Louise Niggemeier</qs:Author>
    <qs:OldGuid/>
  </qs:OrigSlideInfo>
</qs:UpdateInfoSlideData>
</file>

<file path=customXml/item15.xml><?xml version="1.0" encoding="utf-8"?>
<qs:UpdateInfoSlideData xmlns:qs="urn:agency:FolienpoolTraining:quickSlide:extdata:slide:updateinfo">
  <qs:ThisSlideInfo>
    <qs:PresentationGuid/>
    <qs:SlideGuid>B263F358-916B-42A5-9BA0-8105FB83A60E</qs:SlideGuid>
    <qs:SlideTitle>Wertneutraler Hedge (Verkauf)</qs:SlideTitle>
    <qs:PublishingDate>2018-09-18T08:09:36</qs:PublishingDate>
    <qs:Author>Marie-Louise Niggemeier</qs:Author>
    <qs:OldGuid/>
  </qs:ThisSlideInfo>
  <qs:OrigSlideInfo>
    <qs:PresentationGuid/>
    <qs:SlideGuid>B263F358-916B-42A5-9BA0-8105FB83A60E</qs:SlideGuid>
    <qs:SlideTitle>Wertneutraler Hedge (Verkauf)</qs:SlideTitle>
    <qs:PublishingDate>2018-09-18T08:09:36</qs:PublishingDate>
    <qs:Author>Marie-Louise Niggemeier</qs:Author>
    <qs:OldGuid/>
  </qs:OrigSlideInfo>
</qs:UpdateInfoSlideData>
</file>

<file path=customXml/item16.xml><?xml version="1.0" encoding="utf-8"?>
<qs:UpdateInfoSlideData xmlns:qs="urn:agency:FolienpoolTraining:quickSlide:extdata:slide:updateinfo">
  <qs:ThisSlideInfo>
    <qs:PresentationGuid/>
    <qs:SlideGuid>CBE5B19F-D3DF-4A7E-B11D-7EAC808D04FD</qs:SlideGuid>
    <qs:SlideTitle>The weather risk decreases with the duration of a Ppas (German Onshore)</qs:SlideTitle>
    <qs:PublishingDate>2022-03-17T09:40:03</qs:PublishingDate>
    <qs:Author>Michael Claußner</qs:Author>
    <qs:OldGuid/>
  </qs:ThisSlideInfo>
  <qs:OrigSlideInfo>
    <qs:PresentationGuid/>
    <qs:SlideGuid>CBE5B19F-D3DF-4A7E-B11D-7EAC808D04FD</qs:SlideGuid>
    <qs:SlideTitle>The weather risk decreases with the duration of a Ppas (German Onshore)</qs:SlideTitle>
    <qs:PublishingDate>2022-03-17T09:40:03</qs:PublishingDate>
    <qs:Author>Michael Claußner</qs:Author>
    <qs:OldGuid/>
  </qs:OrigSlideInfo>
</qs:UpdateInfoSlideData>
</file>

<file path=customXml/item17.xml><?xml version="1.0" encoding="utf-8"?>
<ct:contentTypeSchema xmlns:ct="http://schemas.microsoft.com/office/2006/metadata/contentType" xmlns:ma="http://schemas.microsoft.com/office/2006/metadata/properties/metaAttributes" ct:_="" ma:_="" ma:contentTypeName="Document" ma:contentTypeID="0x010100537DB5CAE381FE4EB3F2C744BF1CE3CA" ma:contentTypeVersion="21" ma:contentTypeDescription="Create a new document." ma:contentTypeScope="" ma:versionID="2c81550d0dfaf06717822564373390f4">
  <xsd:schema xmlns:xsd="http://www.w3.org/2001/XMLSchema" xmlns:xs="http://www.w3.org/2001/XMLSchema" xmlns:p="http://schemas.microsoft.com/office/2006/metadata/properties" xmlns:ns2="3789b4e6-85d6-45ae-bdc3-e9d01246750e" xmlns:ns3="af6e6f5c-2a63-49d6-bf76-8f8ed4e72864" targetNamespace="http://schemas.microsoft.com/office/2006/metadata/properties" ma:root="true" ma:fieldsID="4d86473a4b38482698b3599cfd499331" ns2:_="" ns3:_="">
    <xsd:import namespace="3789b4e6-85d6-45ae-bdc3-e9d01246750e"/>
    <xsd:import namespace="af6e6f5c-2a63-49d6-bf76-8f8ed4e7286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Owner"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789b4e6-85d6-45ae-bdc3-e9d012467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Owner" ma:index="20" nillable="true" ma:displayName="Owner" ma:description="The person who established the doc" ma:format="Dropdown" ma:internalName="Owner">
      <xsd:simpleType>
        <xsd:restriction base="dms:Text">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68bc7ffa-3213-4f12-8306-c357232cb2b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f6e6f5c-2a63-49d6-bf76-8f8ed4e7286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8b4ad60e-9041-47f1-8ae4-7e5136e2c06b}" ma:internalName="TaxCatchAll" ma:showField="CatchAllData" ma:web="af6e6f5c-2a63-49d6-bf76-8f8ed4e728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8.xml><?xml version="1.0" encoding="utf-8"?>
<?mso-contentType ?>
<FormTemplates xmlns="http://schemas.microsoft.com/sharepoint/v3/contenttype/forms">
  <Display>DocumentLibraryForm</Display>
  <Edit>DocumentLibraryForm</Edit>
  <New>DocumentLibraryForm</New>
</FormTemplates>
</file>

<file path=customXml/item19.xml><?xml version="1.0" encoding="utf-8"?>
<qs:UpdateInfoSlideData xmlns:qs="urn:agency:FolienpoolTraining:quickSlide:extdata:slide:updateinfo">
  <qs:ThisSlideInfo>
    <qs:PresentationGuid/>
    <qs:SlideGuid>72F3A546-50A2-4BE4-B1A1-0A1FB990B2B6</qs:SlideGuid>
    <qs:SlideTitle>Risikobewertung_ BEISPIEL WETTEREINFLUSS (II) [R]</qs:SlideTitle>
    <qs:PublishingDate>2019-10-02T15:43:16</qs:PublishingDate>
    <qs:Author>Michael Claußner</qs:Author>
    <qs:OldGuid/>
  </qs:ThisSlideInfo>
  <qs:OrigSlideInfo>
    <qs:PresentationGuid/>
    <qs:SlideGuid>68474E78-4150-4DED-A415-E4DD7B5BB858</qs:SlideGuid>
    <qs:SlideTitle>Risikobewertung_ BEISPIEL WETTEREINFLUSS (II) [R]</qs:SlideTitle>
    <qs:PublishingDate>2019-10-02T15:43:16</qs:PublishingDate>
    <qs:Author>Michael Claußner</qs:Author>
    <qs:OldGuid/>
  </qs:OrigSlideInfo>
</qs:UpdateInfoSlideData>
</file>

<file path=customXml/item2.xml><?xml version="1.0" encoding="utf-8"?>
<qs:UpdateInfoSlideData xmlns:qs="urn:agency:FolienpoolTraining:quickSlide:extdata:slide:updateinfo">
  <qs:ThisSlideInfo>
    <qs:PresentationGuid>56900CAF-A6D8-4C20-91D7-46F25F863C15</qs:PresentationGuid>
    <qs:SlideGuid>9729BACE-A3C0-478A-A75A-320EC0ABC971</qs:SlideGuid>
    <qs:SlideTitle>Gestelltes Risikokapital und Risikokennzahlen</qs:SlideTitle>
    <qs:PresentationName>\\be-srv-02\Projekte_intern\EB (Training)\Folienpool Training\Folienpool Training Slides\Training\Risikomanagement.pptx</qs:PresentationName>
    <qs:ThumbNailName>\\be-srv-02\Projekte_intern\EB (Training)\Folienpool Training\Folienpool Training Slides\Training\QsData\Thmbs\688EC159.png</qs:ThumbNailName>
    <qs:PublishingDate>2018-01-08T14:39:19</qs:PublishingDate>
    <qs:Author>Angela Pietroni</qs:Author>
    <qs:OldGuid/>
  </qs:ThisSlideInfo>
  <qs:OrigSlideInfo>
    <qs:PresentationGuid>56900CAF-A6D8-4C20-91D7-46F25F863C15</qs:PresentationGuid>
    <qs:SlideGuid>9729BACE-A3C0-478A-A75A-320EC0ABC971</qs:SlideGuid>
    <qs:SlideTitle>Gestelltes Risikokapital und Risikokennzahlen</qs:SlideTitle>
    <qs:PresentationName>\\be-srv-02\Projekte_intern\EB (Training)\Folienpool Training\Folienpool Training Slides\Training\Risikomanagement.pptx</qs:PresentationName>
    <qs:ThumbNailName>\\be-srv-02\Projekte_intern\EB (Training)\Folienpool Training\Folienpool Training Slides\Training\QsData\Thmbs\688EC159.png</qs:ThumbNailName>
    <qs:PublishingDate>2018-01-08T14:39:19</qs:PublishingDate>
    <qs:Author>Angela Pietroni</qs:Author>
    <qs:OldGuid/>
  </qs:OrigSlideInfo>
</qs:UpdateInfoSlideData>
</file>

<file path=customXml/item20.xml><?xml version="1.0" encoding="utf-8"?>
<qs:UpdateInfoSlideData xmlns:qs="urn:agency:FolienpoolTraining:quickSlide:extdata:slide:updateinfo">
  <qs:ThisSlideInfo>
    <qs:PresentationGuid/>
    <qs:SlideGuid>5FFEC4EE-3A85-44DE-9400-F32E3FE2F13A</qs:SlideGuid>
    <qs:SlideTitle>III) Lösungsvorschlag_ rollierender Hedge [R]</qs:SlideTitle>
    <qs:PublishingDate>2019-08-30T13:00:37</qs:PublishingDate>
    <qs:Author>Lydia Bischof</qs:Author>
    <qs:OldGuid/>
  </qs:ThisSlideInfo>
  <qs:OrigSlideInfo>
    <qs:PresentationGuid/>
    <qs:SlideGuid>CC944704-DC5A-4A2C-918E-F9522476496C</qs:SlideGuid>
    <qs:SlideTitle>III) Lösungsvorschlag_ rollierender Hedge [R]</qs:SlideTitle>
    <qs:PublishingDate>2019-08-30T13:00:37</qs:PublishingDate>
    <qs:Author>Lydia Bischof</qs:Author>
    <qs:OldGuid/>
  </qs:OrigSlideInfo>
</qs:UpdateInfoSlideData>
</file>

<file path=customXml/item21.xml><?xml version="1.0" encoding="utf-8"?>
<qs:UpdateInfoSlideData xmlns:qs="urn:agency:FolienpoolTraining:quickSlide:extdata:slide:updateinfo">
  <qs:ThisSlideInfo>
    <qs:PresentationGuid/>
    <qs:SlideGuid>5156D2D3-FF53-4FC5-BEF9-4B5FDE8F1EE5</qs:SlideGuid>
    <qs:SlideTitle>II) OFFENE POSITIONEN_ Überwachung der Wertverluste durch Value at Risk [R]</qs:SlideTitle>
    <qs:PublishingDate>2019-08-30T12:41:59</qs:PublishingDate>
    <qs:Author>Lydia Bischof</qs:Author>
    <qs:OldGuid/>
  </qs:ThisSlideInfo>
  <qs:OrigSlideInfo>
    <qs:PresentationGuid/>
    <qs:SlideGuid>48D59FFB-3145-4120-B880-A60D2B48D223</qs:SlideGuid>
    <qs:SlideTitle>II) OFFENE POSITIONEN_ Überwachung der Wertverluste durch Value at Risk [R]</qs:SlideTitle>
    <qs:PublishingDate>2019-08-30T12:41:59</qs:PublishingDate>
    <qs:Author>Lydia Bischof</qs:Author>
    <qs:OldGuid/>
  </qs:OrigSlideInfo>
</qs:UpdateInfoSlideData>
</file>

<file path=customXml/item22.xml><?xml version="1.0" encoding="utf-8"?>
<qs:UpdateInfoSlideData xmlns:qs="urn:agency:FolienpoolTraining:quickSlide:extdata:slide:updateinfo">
  <qs:ThisSlideInfo>
    <qs:PresentationGuid/>
    <qs:SlideGuid>50361E2D-A495-413B-8DE8-B6347B83BEE7</qs:SlideGuid>
    <qs:SlideTitle>Risikokennzahlen</qs:SlideTitle>
    <qs:PublishingDate>2021-04-28T18:33:44</qs:PublishingDate>
    <qs:Author>Matthis Brinkhaus</qs:Author>
    <qs:OldGuid/>
  </qs:ThisSlideInfo>
  <qs:OrigSlideInfo>
    <qs:PresentationGuid/>
    <qs:SlideGuid>DABB7BB9-98AC-440A-BF6C-729B8F49E499</qs:SlideGuid>
    <qs:SlideTitle>Risikokennzahlen</qs:SlideTitle>
    <qs:PublishingDate>2021-04-28T18:33:44</qs:PublishingDate>
    <qs:Author>Matthis Brinkhaus</qs:Author>
    <qs:OldGuid/>
  </qs:OrigSlideInfo>
</qs:UpdateInfoSlideData>
</file>

<file path=customXml/item23.xml><?xml version="1.0" encoding="utf-8"?>
<qs:UpdateInfoSlideData xmlns:qs="urn:agency:FolienpoolTraining:quickSlide:extdata:slide:updateinfo">
  <qs:ThisSlideInfo>
    <qs:PresentationGuid/>
    <qs:SlideGuid>5156D2D3-FF53-4FC5-BEF9-4B5FDE8F1EE5</qs:SlideGuid>
    <qs:SlideTitle>II) OFFENE POSITIONEN_ Überwachung der Wertverluste durch Value at Risk [R]</qs:SlideTitle>
    <qs:PublishingDate>2019-08-30T12:41:59</qs:PublishingDate>
    <qs:Author>Lydia Bischof</qs:Author>
    <qs:OldGuid/>
  </qs:ThisSlideInfo>
  <qs:OrigSlideInfo>
    <qs:PresentationGuid/>
    <qs:SlideGuid>48D59FFB-3145-4120-B880-A60D2B48D223</qs:SlideGuid>
    <qs:SlideTitle>II) OFFENE POSITIONEN_ Überwachung der Wertverluste durch Value at Risk [R]</qs:SlideTitle>
    <qs:PublishingDate>2019-08-30T12:41:59</qs:PublishingDate>
    <qs:Author>Lydia Bischof</qs:Author>
    <qs:OldGuid/>
  </qs:OrigSlideInfo>
</qs:UpdateInfoSlideData>
</file>

<file path=customXml/item24.xml><?xml version="1.0" encoding="utf-8"?>
<qs:UpdateInfoSlideData xmlns:qs="urn:agency:FolienpoolTraining:quickSlide:extdata:slide:updateinfo">
  <qs:ThisSlideInfo>
    <qs:PresentationGuid/>
    <qs:SlideGuid>46F58240-641E-4656-A53D-32B27EB7A1FD</qs:SlideGuid>
    <qs:SlideTitle>III) Restrisiko ZEITSKALEN_ Horizont des Terminmarktes vs. Absicherungswunsch feE_PPAs [R]</qs:SlideTitle>
    <qs:PublishingDate>2019-08-30T13:00:09</qs:PublishingDate>
    <qs:Author>Lydia Bischof</qs:Author>
    <qs:OldGuid/>
  </qs:ThisSlideInfo>
  <qs:OrigSlideInfo>
    <qs:PresentationGuid/>
    <qs:SlideGuid>EC69FE3C-4F25-4295-BD0C-B9E1F22A704C</qs:SlideGuid>
    <qs:SlideTitle>III) Restrisiko ZEITSKALEN_ Horizont des Terminmarktes vs. Absicherungswunsch feE_PPAs [R]</qs:SlideTitle>
    <qs:PublishingDate>2019-08-30T13:00:09</qs:PublishingDate>
    <qs:Author>Lydia Bischof</qs:Author>
    <qs:OldGuid/>
  </qs:OrigSlideInfo>
</qs:UpdateInfoSlideData>
</file>

<file path=customXml/item3.xml><?xml version="1.0" encoding="utf-8"?>
<qs:UpdateInfoSlideData xmlns:qs="urn:agency:FolienpoolTraining:quickSlide:extdata:slide:updateinfo">
  <qs:ThisSlideInfo>
    <qs:PresentationGuid>56900CAF-A6D8-4C20-91D7-46F25F863C15</qs:PresentationGuid>
    <qs:SlideGuid>90013B9C-A8BF-4776-972F-8CB2F44A95AF</qs:SlideGuid>
    <qs:SlideTitle>Alle Risiken werden in der Risk Map eingetragen</qs:SlideTitle>
    <qs:PresentationName>\\be-srv-02\Projekte_intern\EB (Training)\Folienpool Training\Folienpool Training Slides\Training\Risikomanagement.pptx</qs:PresentationName>
    <qs:ThumbNailName>\\be-srv-02\Projekte_intern\EB (Training)\Folienpool Training\Folienpool Training Slides\Training\QsData\Thmbs\42401028.png</qs:ThumbNailName>
    <qs:PublishingDate>2018-01-08T14:39:19</qs:PublishingDate>
    <qs:Author>Angela Pietroni</qs:Author>
    <qs:OldGuid/>
  </qs:ThisSlideInfo>
  <qs:OrigSlideInfo>
    <qs:PresentationGuid>56900CAF-A6D8-4C20-91D7-46F25F863C15</qs:PresentationGuid>
    <qs:SlideGuid>90013B9C-A8BF-4776-972F-8CB2F44A95AF</qs:SlideGuid>
    <qs:SlideTitle>Alle Risiken werden in der Risk Map eingetragen</qs:SlideTitle>
    <qs:PresentationName>\\be-srv-02\Projekte_intern\EB (Training)\Folienpool Training\Folienpool Training Slides\Training\Risikomanagement.pptx</qs:PresentationName>
    <qs:ThumbNailName>\\be-srv-02\Projekte_intern\EB (Training)\Folienpool Training\Folienpool Training Slides\Training\QsData\Thmbs\42401028.png</qs:ThumbNailName>
    <qs:PublishingDate>2018-01-08T14:39:19</qs:PublishingDate>
    <qs:Author>Angela Pietroni</qs:Author>
    <qs:OldGuid/>
  </qs:OrigSlideInfo>
</qs:UpdateInfoSlideData>
</file>

<file path=customXml/item4.xml><?xml version="1.0" encoding="utf-8"?>
<qs:UpdateInfoSlideData xmlns:qs="urn:agency:FolienpoolTraining:quickSlide:extdata:slide:updateinfo">
  <qs:ThisSlideInfo>
    <qs:PresentationGuid/>
    <qs:SlideGuid>290307A1-BD7A-47F7-90AE-000CC4F8C67D</qs:SlideGuid>
    <qs:SlideTitle>Illustration_  Wetterjahre, StRomnachfrage und Rohstoffpreise</qs:SlideTitle>
    <qs:PublishingDate>2021-09-02T14:20:08</qs:PublishingDate>
    <qs:Author>Alex Schmitt</qs:Author>
    <qs:OldGuid/>
  </qs:ThisSlideInfo>
  <qs:OrigSlideInfo>
    <qs:PresentationGuid/>
    <qs:SlideGuid>290307A1-BD7A-47F7-90AE-000CC4F8C67D</qs:SlideGuid>
    <qs:SlideTitle>Illustration_  Wetterjahre, StRomnachfrage und Rohstoffpreise</qs:SlideTitle>
    <qs:PublishingDate>2021-09-02T14:20:08</qs:PublishingDate>
    <qs:Author>Alex Schmitt</qs:Author>
    <qs:OldGuid/>
  </qs:OrigSlideInfo>
</qs:UpdateInfoSlideData>
</file>

<file path=customXml/item5.xml><?xml version="1.0" encoding="utf-8"?>
<qs:UpdateInfoSlideData xmlns:qs="urn:agency:FolienpoolTraining:quickSlide:extdata:slide:updateinfo">
  <qs:ThisSlideInfo>
    <qs:PresentationGuid/>
    <qs:SlideGuid>5156D2D3-FF53-4FC5-BEF9-4B5FDE8F1EE5</qs:SlideGuid>
    <qs:SlideTitle>II) OFFENE POSITIONEN_ Überwachung der Wertverluste durch Value at Risk [R]</qs:SlideTitle>
    <qs:PublishingDate>2019-08-30T12:41:59</qs:PublishingDate>
    <qs:Author>Lydia Bischof</qs:Author>
    <qs:OldGuid/>
  </qs:ThisSlideInfo>
  <qs:OrigSlideInfo>
    <qs:PresentationGuid/>
    <qs:SlideGuid>48D59FFB-3145-4120-B880-A60D2B48D223</qs:SlideGuid>
    <qs:SlideTitle>II) OFFENE POSITIONEN_ Überwachung der Wertverluste durch Value at Risk [R]</qs:SlideTitle>
    <qs:PublishingDate>2019-08-30T12:41:59</qs:PublishingDate>
    <qs:Author>Lydia Bischof</qs:Author>
    <qs:OldGuid/>
  </qs:OrigSlideInfo>
</qs:UpdateInfoSlideData>
</file>

<file path=customXml/item6.xml><?xml version="1.0" encoding="utf-8"?>
<qs:UpdateInfoSlideData xmlns:qs="urn:agency:FolienpoolTraining:quickSlide:extdata:slide:updateinfo">
  <qs:ThisSlideInfo>
    <qs:PresentationGuid/>
    <qs:SlideGuid>5156D2D3-FF53-4FC5-BEF9-4B5FDE8F1EE5</qs:SlideGuid>
    <qs:SlideTitle>II) OFFENE POSITIONEN_ Überwachung der Wertverluste durch Value at Risk [R]</qs:SlideTitle>
    <qs:PublishingDate>2019-08-30T12:41:59</qs:PublishingDate>
    <qs:Author>Lydia Bischof</qs:Author>
    <qs:OldGuid/>
  </qs:ThisSlideInfo>
  <qs:OrigSlideInfo>
    <qs:PresentationGuid/>
    <qs:SlideGuid>48D59FFB-3145-4120-B880-A60D2B48D223</qs:SlideGuid>
    <qs:SlideTitle>II) OFFENE POSITIONEN_ Überwachung der Wertverluste durch Value at Risk [R]</qs:SlideTitle>
    <qs:PublishingDate>2019-08-30T12:41:59</qs:PublishingDate>
    <qs:Author>Lydia Bischof</qs:Author>
    <qs:OldGuid/>
  </qs:OrigSlideInfo>
</qs:UpdateInfoSlideData>
</file>

<file path=customXml/item7.xml><?xml version="1.0" encoding="utf-8"?>
<qs:UpdateInfoSlideData xmlns:qs="urn:agency:FolienpoolTraining:quickSlide:extdata:slide:updateinfo">
  <qs:ThisSlideInfo>
    <qs:PresentationGuid/>
    <qs:SlideGuid>C23E6164-EF84-4A11-BD51-0AE0CF87201A</qs:SlideGuid>
    <qs:SlideTitle>Umsetzungsschritte im Risikomanagement_001</qs:SlideTitle>
    <qs:PublishingDate>2021-04-28T18:32:39</qs:PublishingDate>
    <qs:Author>Matthis Brinkhaus</qs:Author>
    <qs:OldGuid/>
  </qs:ThisSlideInfo>
  <qs:OrigSlideInfo>
    <qs:PresentationGuid/>
    <qs:SlideGuid>A4D51594-B566-4A0B-97D5-2D58B4EAF19B</qs:SlideGuid>
    <qs:SlideTitle>Umsetzungsschritte im Risikomanagement_001</qs:SlideTitle>
    <qs:PublishingDate>2021-04-28T18:32:39</qs:PublishingDate>
    <qs:Author>Matthis Brinkhaus</qs:Author>
    <qs:OldGuid/>
  </qs:OrigSlideInfo>
</qs:UpdateInfoSlideData>
</file>

<file path=customXml/item8.xml><?xml version="1.0" encoding="utf-8"?>
<qs:UpdateInfoSlideData xmlns:qs="urn:agency:FolienpoolTraining:quickSlide:extdata:slide:updateinfo">
  <qs:ThisSlideInfo>
    <qs:PresentationGuid/>
    <qs:SlideGuid>B524380C-CA7C-47AA-800B-3C0293AC9970</qs:SlideGuid>
    <qs:SlideTitle>Historische Entwicklung der Stündlichen Spotpreise (Auto)</qs:SlideTitle>
    <qs:PublishingDate>2023-02-22T10:03:18</qs:PublishingDate>
    <qs:Author>Christopher Troost;Matthis Brinkhaus</qs:Author>
    <qs:OldGuid/>
  </qs:ThisSlideInfo>
  <qs:OrigSlideInfo>
    <qs:PresentationGuid/>
    <qs:SlideGuid>B524380C-CA7C-47AA-800B-3C0293AC9970</qs:SlideGuid>
    <qs:SlideTitle>Historische Entwicklung der Stündlichen Spotpreise (Auto)</qs:SlideTitle>
    <qs:PublishingDate>2023-02-22T10:03:18</qs:PublishingDate>
    <qs:Author>Christopher Troost;Matthis Brinkhaus</qs:Author>
    <qs:OldGuid/>
  </qs:OrigSlideInfo>
</qs:UpdateInfoSlideData>
</file>

<file path=customXml/item9.xml><?xml version="1.0" encoding="utf-8"?>
<qs:UpdateInfoSlideData xmlns:qs="urn:agency:FolienpoolTraining:quickSlide:extdata:slide:updateinfo">
  <qs:ThisSlideInfo>
    <qs:PresentationGuid>56900CAF-A6D8-4C20-91D7-46F25F863C15</qs:PresentationGuid>
    <qs:SlideGuid>7227202B-A6AD-45DF-8A89-536B6A091B6E</qs:SlideGuid>
    <qs:SlideTitle>Absicherung der Marge</qs:SlideTitle>
    <qs:PresentationName>\\be-srv-02\Projekte_intern\EB (Training)\Folienpool Training\Folienpool Training Slides\Training\Risikomanagement.pptx</qs:PresentationName>
    <qs:ThumbNailName>\\be-srv-02\Projekte_intern\EB (Training)\Folienpool Training\Folienpool Training Slides\Training\QsData\Thmbs\2B84730C.png</qs:ThumbNailName>
    <qs:PublishingDate>2018-01-08T14:39:19</qs:PublishingDate>
    <qs:Author>Angela Pietroni</qs:Author>
    <qs:OldGuid/>
  </qs:ThisSlideInfo>
  <qs:OrigSlideInfo>
    <qs:PresentationGuid>56900CAF-A6D8-4C20-91D7-46F25F863C15</qs:PresentationGuid>
    <qs:SlideGuid>7227202B-A6AD-45DF-8A89-536B6A091B6E</qs:SlideGuid>
    <qs:SlideTitle>Absicherung der Marge</qs:SlideTitle>
    <qs:PresentationName>\\be-srv-02\Projekte_intern\EB (Training)\Folienpool Training\Folienpool Training Slides\Training\Risikomanagement.pptx</qs:PresentationName>
    <qs:ThumbNailName>\\be-srv-02\Projekte_intern\EB (Training)\Folienpool Training\Folienpool Training Slides\Training\QsData\Thmbs\2B84730C.png</qs:ThumbNailName>
    <qs:PublishingDate>2018-01-08T14:39:19</qs:PublishingDate>
    <qs:Author>Angela Pietroni</qs:Author>
    <qs:OldGuid/>
  </qs:OrigSlideInfo>
</qs:UpdateInfoSlideData>
</file>

<file path=customXml/itemProps1.xml><?xml version="1.0" encoding="utf-8"?>
<ds:datastoreItem xmlns:ds="http://schemas.openxmlformats.org/officeDocument/2006/customXml" ds:itemID="{0F207C09-7647-4F52-AFEE-9C454ED6A574}">
  <ds:schemaRefs>
    <ds:schemaRef ds:uri="urn:agency:FolienpoolTraining:quickSlide:extdata:slide:updateinfo"/>
  </ds:schemaRefs>
</ds:datastoreItem>
</file>

<file path=customXml/itemProps10.xml><?xml version="1.0" encoding="utf-8"?>
<ds:datastoreItem xmlns:ds="http://schemas.openxmlformats.org/officeDocument/2006/customXml" ds:itemID="{DA97D6E4-B0D0-4F8B-93C6-D1D383D24E81}">
  <ds:schemaRefs>
    <ds:schemaRef ds:uri="3789b4e6-85d6-45ae-bdc3-e9d01246750e"/>
    <ds:schemaRef ds:uri="af6e6f5c-2a63-49d6-bf76-8f8ed4e7286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cd1245a-019b-4303-9dcd-8dfba0a484eb"/>
    <ds:schemaRef ds:uri="29aac3b8-6948-4ca9-8e77-0588067165a1"/>
  </ds:schemaRefs>
</ds:datastoreItem>
</file>

<file path=customXml/itemProps11.xml><?xml version="1.0" encoding="utf-8"?>
<ds:datastoreItem xmlns:ds="http://schemas.openxmlformats.org/officeDocument/2006/customXml" ds:itemID="{B0B6E9ED-11B9-417D-85D2-B524D5245102}">
  <ds:schemaRefs>
    <ds:schemaRef ds:uri="urn:agency:FolienpoolTraining:quickSlide:extdata:slide:updateinfo"/>
  </ds:schemaRefs>
</ds:datastoreItem>
</file>

<file path=customXml/itemProps12.xml><?xml version="1.0" encoding="utf-8"?>
<ds:datastoreItem xmlns:ds="http://schemas.openxmlformats.org/officeDocument/2006/customXml" ds:itemID="{FD46010B-771F-4C82-BB91-6C167B6C3B7E}">
  <ds:schemaRefs>
    <ds:schemaRef ds:uri="urn:agency:FolienpoolTraining:quickSlide:extdata:slide:updateinfo"/>
  </ds:schemaRefs>
</ds:datastoreItem>
</file>

<file path=customXml/itemProps13.xml><?xml version="1.0" encoding="utf-8"?>
<ds:datastoreItem xmlns:ds="http://schemas.openxmlformats.org/officeDocument/2006/customXml" ds:itemID="{A5381C07-60AB-4264-A659-690A075CE827}">
  <ds:schemaRefs>
    <ds:schemaRef ds:uri="urn:agency:FolienpoolTraining:quickSlide:extdata:slide:updateinfo"/>
  </ds:schemaRefs>
</ds:datastoreItem>
</file>

<file path=customXml/itemProps14.xml><?xml version="1.0" encoding="utf-8"?>
<ds:datastoreItem xmlns:ds="http://schemas.openxmlformats.org/officeDocument/2006/customXml" ds:itemID="{CA746562-2A4C-4990-887A-C4809D866CDF}">
  <ds:schemaRefs>
    <ds:schemaRef ds:uri="urn:agency:FolienpoolTraining:quickSlide:extdata:slide:updateinfo"/>
  </ds:schemaRefs>
</ds:datastoreItem>
</file>

<file path=customXml/itemProps15.xml><?xml version="1.0" encoding="utf-8"?>
<ds:datastoreItem xmlns:ds="http://schemas.openxmlformats.org/officeDocument/2006/customXml" ds:itemID="{E0662E9C-717B-4BEB-934B-7CF4EE03DF2F}">
  <ds:schemaRefs>
    <ds:schemaRef ds:uri="urn:agency:FolienpoolTraining:quickSlide:extdata:slide:updateinfo"/>
  </ds:schemaRefs>
</ds:datastoreItem>
</file>

<file path=customXml/itemProps16.xml><?xml version="1.0" encoding="utf-8"?>
<ds:datastoreItem xmlns:ds="http://schemas.openxmlformats.org/officeDocument/2006/customXml" ds:itemID="{D9A54203-C953-477D-88A2-5D6786AEE4EC}">
  <ds:schemaRefs>
    <ds:schemaRef ds:uri="urn:agency:FolienpoolTraining:quickSlide:extdata:slide:updateinfo"/>
  </ds:schemaRefs>
</ds:datastoreItem>
</file>

<file path=customXml/itemProps17.xml><?xml version="1.0" encoding="utf-8"?>
<ds:datastoreItem xmlns:ds="http://schemas.openxmlformats.org/officeDocument/2006/customXml" ds:itemID="{D319D086-60FF-40BD-ABD6-414E61C7EC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789b4e6-85d6-45ae-bdc3-e9d01246750e"/>
    <ds:schemaRef ds:uri="af6e6f5c-2a63-49d6-bf76-8f8ed4e728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8.xml><?xml version="1.0" encoding="utf-8"?>
<ds:datastoreItem xmlns:ds="http://schemas.openxmlformats.org/officeDocument/2006/customXml" ds:itemID="{72B645D2-AA6E-481B-B73E-94C8C2D12088}">
  <ds:schemaRefs>
    <ds:schemaRef ds:uri="http://schemas.microsoft.com/sharepoint/v3/contenttype/forms"/>
  </ds:schemaRefs>
</ds:datastoreItem>
</file>

<file path=customXml/itemProps19.xml><?xml version="1.0" encoding="utf-8"?>
<ds:datastoreItem xmlns:ds="http://schemas.openxmlformats.org/officeDocument/2006/customXml" ds:itemID="{1B5DD6A1-38E3-4B3B-A11F-AFF35FD63441}">
  <ds:schemaRefs>
    <ds:schemaRef ds:uri="urn:agency:FolienpoolTraining:quickSlide:extdata:slide:updateinfo"/>
  </ds:schemaRefs>
</ds:datastoreItem>
</file>

<file path=customXml/itemProps2.xml><?xml version="1.0" encoding="utf-8"?>
<ds:datastoreItem xmlns:ds="http://schemas.openxmlformats.org/officeDocument/2006/customXml" ds:itemID="{8384DC25-04C6-4198-9286-2D54CE08782F}">
  <ds:schemaRefs>
    <ds:schemaRef ds:uri="urn:agency:FolienpoolTraining:quickSlide:extdata:slide:updateinfo"/>
  </ds:schemaRefs>
</ds:datastoreItem>
</file>

<file path=customXml/itemProps20.xml><?xml version="1.0" encoding="utf-8"?>
<ds:datastoreItem xmlns:ds="http://schemas.openxmlformats.org/officeDocument/2006/customXml" ds:itemID="{BE8F9C97-7933-40A1-9127-244DAD1DD79D}">
  <ds:schemaRefs>
    <ds:schemaRef ds:uri="urn:agency:FolienpoolTraining:quickSlide:extdata:slide:updateinfo"/>
  </ds:schemaRefs>
</ds:datastoreItem>
</file>

<file path=customXml/itemProps21.xml><?xml version="1.0" encoding="utf-8"?>
<ds:datastoreItem xmlns:ds="http://schemas.openxmlformats.org/officeDocument/2006/customXml" ds:itemID="{CF0B76C0-4BFC-4BB6-9B5E-F7AA24302201}">
  <ds:schemaRefs>
    <ds:schemaRef ds:uri="urn:agency:FolienpoolTraining:quickSlide:extdata:slide:updateinfo"/>
  </ds:schemaRefs>
</ds:datastoreItem>
</file>

<file path=customXml/itemProps22.xml><?xml version="1.0" encoding="utf-8"?>
<ds:datastoreItem xmlns:ds="http://schemas.openxmlformats.org/officeDocument/2006/customXml" ds:itemID="{8BAD34EB-68D1-4DBC-9974-BD3E9C1E332D}">
  <ds:schemaRefs>
    <ds:schemaRef ds:uri="urn:agency:FolienpoolTraining:quickSlide:extdata:slide:updateinfo"/>
  </ds:schemaRefs>
</ds:datastoreItem>
</file>

<file path=customXml/itemProps23.xml><?xml version="1.0" encoding="utf-8"?>
<ds:datastoreItem xmlns:ds="http://schemas.openxmlformats.org/officeDocument/2006/customXml" ds:itemID="{C3FF2B25-7706-457D-929A-BB51B0185170}">
  <ds:schemaRefs>
    <ds:schemaRef ds:uri="urn:agency:FolienpoolTraining:quickSlide:extdata:slide:updateinfo"/>
  </ds:schemaRefs>
</ds:datastoreItem>
</file>

<file path=customXml/itemProps24.xml><?xml version="1.0" encoding="utf-8"?>
<ds:datastoreItem xmlns:ds="http://schemas.openxmlformats.org/officeDocument/2006/customXml" ds:itemID="{4C112CFE-D214-4DD8-90D4-7EDEF54442A1}">
  <ds:schemaRefs>
    <ds:schemaRef ds:uri="urn:agency:FolienpoolTraining:quickSlide:extdata:slide:updateinfo"/>
  </ds:schemaRefs>
</ds:datastoreItem>
</file>

<file path=customXml/itemProps3.xml><?xml version="1.0" encoding="utf-8"?>
<ds:datastoreItem xmlns:ds="http://schemas.openxmlformats.org/officeDocument/2006/customXml" ds:itemID="{F63961E6-3965-4DCD-B4F6-249BB54DAAF6}">
  <ds:schemaRefs>
    <ds:schemaRef ds:uri="urn:agency:FolienpoolTraining:quickSlide:extdata:slide:updateinfo"/>
  </ds:schemaRefs>
</ds:datastoreItem>
</file>

<file path=customXml/itemProps4.xml><?xml version="1.0" encoding="utf-8"?>
<ds:datastoreItem xmlns:ds="http://schemas.openxmlformats.org/officeDocument/2006/customXml" ds:itemID="{07E6DF94-9E80-4A32-BC34-AF1F233DDD69}">
  <ds:schemaRefs>
    <ds:schemaRef ds:uri="urn:agency:FolienpoolTraining:quickSlide:extdata:slide:updateinfo"/>
  </ds:schemaRefs>
</ds:datastoreItem>
</file>

<file path=customXml/itemProps5.xml><?xml version="1.0" encoding="utf-8"?>
<ds:datastoreItem xmlns:ds="http://schemas.openxmlformats.org/officeDocument/2006/customXml" ds:itemID="{3ADE7A67-C879-4973-976E-3D716FB3EE46}">
  <ds:schemaRefs>
    <ds:schemaRef ds:uri="urn:agency:FolienpoolTraining:quickSlide:extdata:slide:updateinfo"/>
  </ds:schemaRefs>
</ds:datastoreItem>
</file>

<file path=customXml/itemProps6.xml><?xml version="1.0" encoding="utf-8"?>
<ds:datastoreItem xmlns:ds="http://schemas.openxmlformats.org/officeDocument/2006/customXml" ds:itemID="{F6E1BEE2-A3D9-473B-BA78-B46226332C6C}">
  <ds:schemaRefs>
    <ds:schemaRef ds:uri="urn:agency:FolienpoolTraining:quickSlide:extdata:slide:updateinfo"/>
  </ds:schemaRefs>
</ds:datastoreItem>
</file>

<file path=customXml/itemProps7.xml><?xml version="1.0" encoding="utf-8"?>
<ds:datastoreItem xmlns:ds="http://schemas.openxmlformats.org/officeDocument/2006/customXml" ds:itemID="{4D4A0C95-7003-4A36-A0F3-0DC1E372C1AE}">
  <ds:schemaRefs>
    <ds:schemaRef ds:uri="urn:agency:FolienpoolTraining:quickSlide:extdata:slide:updateinfo"/>
  </ds:schemaRefs>
</ds:datastoreItem>
</file>

<file path=customXml/itemProps8.xml><?xml version="1.0" encoding="utf-8"?>
<ds:datastoreItem xmlns:ds="http://schemas.openxmlformats.org/officeDocument/2006/customXml" ds:itemID="{1C6DE1E8-3C96-4F1E-912B-EBD9CE84EC28}">
  <ds:schemaRefs>
    <ds:schemaRef ds:uri="urn:agency:FolienpoolTraining:quickSlide:extdata:slide:updateinfo"/>
  </ds:schemaRefs>
</ds:datastoreItem>
</file>

<file path=customXml/itemProps9.xml><?xml version="1.0" encoding="utf-8"?>
<ds:datastoreItem xmlns:ds="http://schemas.openxmlformats.org/officeDocument/2006/customXml" ds:itemID="{330AEFC4-5E2E-4856-A1AD-2524A360CD82}">
  <ds:schemaRefs>
    <ds:schemaRef ds:uri="urn:agency:FolienpoolTraining:quickSlide:extdata:slide:updateinfo"/>
  </ds:schemaRefs>
</ds:datastoreItem>
</file>

<file path=docProps/app.xml><?xml version="1.0" encoding="utf-8"?>
<Properties xmlns="http://schemas.openxmlformats.org/officeDocument/2006/extended-properties" xmlns:vt="http://schemas.openxmlformats.org/officeDocument/2006/docPropsVTypes">
  <Template>2024_Montel_PPT-Template</Template>
  <TotalTime>0</TotalTime>
  <Words>3669</Words>
  <Application>Microsoft Office PowerPoint</Application>
  <PresentationFormat>Widescreen</PresentationFormat>
  <Paragraphs>230</Paragraphs>
  <Slides>13</Slides>
  <Notes>12</Notes>
  <HiddenSlides>0</HiddenSlides>
  <MMClips>0</MMClips>
  <ScaleCrop>false</ScaleCrop>
  <HeadingPairs>
    <vt:vector size="4" baseType="variant">
      <vt:variant>
        <vt:lpstr>Theme</vt:lpstr>
      </vt:variant>
      <vt:variant>
        <vt:i4>13</vt:i4>
      </vt:variant>
      <vt:variant>
        <vt:lpstr>Slide Titles</vt:lpstr>
      </vt:variant>
      <vt:variant>
        <vt:i4>13</vt:i4>
      </vt:variant>
    </vt:vector>
  </HeadingPairs>
  <TitlesOfParts>
    <vt:vector size="26" baseType="lpstr">
      <vt:lpstr>Covers</vt:lpstr>
      <vt:lpstr>Montel Content</vt:lpstr>
      <vt:lpstr>Graphics</vt:lpstr>
      <vt:lpstr>Montel content - Dark Background</vt:lpstr>
      <vt:lpstr>Montel News</vt:lpstr>
      <vt:lpstr>Montel Advisory</vt:lpstr>
      <vt:lpstr>Montel Marketing services</vt:lpstr>
      <vt:lpstr>Montel Risk management</vt:lpstr>
      <vt:lpstr>Montel Events</vt:lpstr>
      <vt:lpstr>Montel Analysis</vt:lpstr>
      <vt:lpstr>Montel Market data</vt:lpstr>
      <vt:lpstr>Montel Publications</vt:lpstr>
      <vt:lpstr>Montel Marketplace</vt:lpstr>
      <vt:lpstr>PowerPoint Presentation</vt:lpstr>
      <vt:lpstr>Historical development of hourly spot prices in Germany</vt:lpstr>
      <vt:lpstr>PowerPoint Presentation</vt:lpstr>
      <vt:lpstr>Development of negative prices on the day-ahead spot market</vt:lpstr>
      <vt:lpstr>Zoom in 2024</vt:lpstr>
      <vt:lpstr>PowerPoint Presentation</vt:lpstr>
      <vt:lpstr>Influence of „negative“ prices on PV and Wind revenues in Germany for 2024</vt:lpstr>
      <vt:lpstr>Influence of „negative“ prices on PV and Wind revenues in Germany for 2024</vt:lpstr>
      <vt:lpstr>PowerPoint Presentation</vt:lpstr>
      <vt:lpstr>PowerPoint Presentation</vt:lpstr>
      <vt:lpstr>PowerPoint Presentation</vt:lpstr>
      <vt:lpstr>PowerPoint Presentation</vt:lpstr>
      <vt:lpstr>PowerPoint Presentation</vt:lpstr>
    </vt:vector>
  </TitlesOfParts>
  <Company>Montel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osephine Steppat</dc:creator>
  <cp:lastModifiedBy>Josephine Steppat</cp:lastModifiedBy>
  <cp:revision>12</cp:revision>
  <dcterms:created xsi:type="dcterms:W3CDTF">2024-10-08T13:38:42Z</dcterms:created>
  <dcterms:modified xsi:type="dcterms:W3CDTF">2025-02-09T13:5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7DB5CAE381FE4EB3F2C744BF1CE3CA</vt:lpwstr>
  </property>
  <property fmtid="{D5CDD505-2E9C-101B-9397-08002B2CF9AE}" pid="3" name="MediaServiceImageTags">
    <vt:lpwstr/>
  </property>
</Properties>
</file>